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355" r:id="rId5"/>
  </p:sldMasterIdLst>
  <p:notesMasterIdLst>
    <p:notesMasterId r:id="rId14"/>
  </p:notesMasterIdLst>
  <p:handoutMasterIdLst>
    <p:handoutMasterId r:id="rId15"/>
  </p:handoutMasterIdLst>
  <p:sldIdLst>
    <p:sldId id="299" r:id="rId6"/>
    <p:sldId id="1554" r:id="rId7"/>
    <p:sldId id="1555" r:id="rId8"/>
    <p:sldId id="1559" r:id="rId9"/>
    <p:sldId id="1563" r:id="rId10"/>
    <p:sldId id="1560" r:id="rId11"/>
    <p:sldId id="1561" r:id="rId12"/>
    <p:sldId id="1552" r:id="rId13"/>
  </p:sldIdLst>
  <p:sldSz cx="12190413" cy="6858000"/>
  <p:notesSz cx="9296400" cy="7010400"/>
  <p:custDataLst>
    <p:tags r:id="rId1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" id="{5B46CB32-7962-476B-BF5D-B10B519391E3}">
          <p14:sldIdLst>
            <p14:sldId id="299"/>
            <p14:sldId id="1554"/>
            <p14:sldId id="1555"/>
            <p14:sldId id="1559"/>
            <p14:sldId id="1563"/>
            <p14:sldId id="1560"/>
            <p14:sldId id="1561"/>
            <p14:sldId id="155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093">
          <p15:clr>
            <a:srgbClr val="A4A3A4"/>
          </p15:clr>
        </p15:guide>
        <p15:guide id="3" pos="619">
          <p15:clr>
            <a:srgbClr val="A4A3A4"/>
          </p15:clr>
        </p15:guide>
        <p15:guide id="15" orient="horz" pos="2478">
          <p15:clr>
            <a:srgbClr val="A4A3A4"/>
          </p15:clr>
        </p15:guide>
        <p15:guide id="16" orient="horz" pos="2704">
          <p15:clr>
            <a:srgbClr val="A4A3A4"/>
          </p15:clr>
        </p15:guide>
        <p15:guide id="17" orient="horz" pos="4086">
          <p15:clr>
            <a:srgbClr val="A4A3A4"/>
          </p15:clr>
        </p15:guide>
        <p15:guide id="18" orient="horz" pos="2592">
          <p15:clr>
            <a:srgbClr val="A4A3A4"/>
          </p15:clr>
        </p15:guide>
        <p15:guide id="19" pos="7422">
          <p15:clr>
            <a:srgbClr val="A4A3A4"/>
          </p15:clr>
        </p15:guide>
        <p15:guide id="20" pos="2139" userDrawn="1">
          <p15:clr>
            <a:srgbClr val="A4A3A4"/>
          </p15:clr>
        </p15:guide>
        <p15:guide id="21" pos="3908">
          <p15:clr>
            <a:srgbClr val="A4A3A4"/>
          </p15:clr>
        </p15:guide>
        <p15:guide id="22" pos="2376">
          <p15:clr>
            <a:srgbClr val="A4A3A4"/>
          </p15:clr>
        </p15:guide>
        <p15:guide id="23" pos="5666">
          <p15:clr>
            <a:srgbClr val="A4A3A4"/>
          </p15:clr>
        </p15:guide>
        <p15:guide id="24" pos="5894">
          <p15:clr>
            <a:srgbClr val="A4A3A4"/>
          </p15:clr>
        </p15:guide>
        <p15:guide id="25" pos="4134">
          <p15:clr>
            <a:srgbClr val="A4A3A4"/>
          </p15:clr>
        </p15:guide>
        <p15:guide id="26" pos="40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9410" userDrawn="1">
          <p15:clr>
            <a:srgbClr val="A4A3A4"/>
          </p15:clr>
        </p15:guide>
        <p15:guide id="2" pos="2980" userDrawn="1">
          <p15:clr>
            <a:srgbClr val="A4A3A4"/>
          </p15:clr>
        </p15:guide>
        <p15:guide id="3" orient="horz" pos="9336" userDrawn="1">
          <p15:clr>
            <a:srgbClr val="A4A3A4"/>
          </p15:clr>
        </p15:guide>
        <p15:guide id="4" pos="2715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he Climate Corporation User" initials="TCC" lastIdx="1" clrIdx="0"/>
  <p:cmAuthor id="2" name="SCOTT, CAMILLE LYNNE [AG/1000]" initials="S[" lastIdx="14" clrIdx="1">
    <p:extLst>
      <p:ext uri="{19B8F6BF-5375-455C-9EA6-DF929625EA0E}">
        <p15:presenceInfo xmlns:p15="http://schemas.microsoft.com/office/powerpoint/2012/main" userId="S::clscot1@monsanto.com::bd4aa8f2-bc19-41ce-b7a2-d044e2317988" providerId="AD"/>
      </p:ext>
    </p:extLst>
  </p:cmAuthor>
  <p:cmAuthor id="3" name="CUENCA FERNANDEZ, TERESA [BAYER]" initials="C[" lastIdx="2" clrIdx="2">
    <p:extLst>
      <p:ext uri="{19B8F6BF-5375-455C-9EA6-DF929625EA0E}">
        <p15:presenceInfo xmlns:p15="http://schemas.microsoft.com/office/powerpoint/2012/main" userId="S::teresa.cuencafernandez_bayer.com#ext#@monsanto365.onmicrosoft.com::391b4157-d0f2-4aef-91a9-5dc53d5ca11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07FA5"/>
    <a:srgbClr val="FFFFFF"/>
    <a:srgbClr val="459F3B"/>
    <a:srgbClr val="10384F"/>
    <a:srgbClr val="89D329"/>
    <a:srgbClr val="D30F4B"/>
    <a:srgbClr val="D3FFE9"/>
    <a:srgbClr val="00B359"/>
    <a:srgbClr val="624963"/>
    <a:srgbClr val="31712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4C387E1-0483-416D-88B8-0C8D9FE5A487}" v="6058" dt="2023-04-19T21:55:10.758"/>
    <p1510:client id="{7495F7A4-69E1-4ADD-936A-4FD078D4C142}" v="13" dt="2023-04-20T12:55:49.82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9" d="100"/>
          <a:sy n="79" d="100"/>
        </p:scale>
        <p:origin x="101" y="115"/>
      </p:cViewPr>
      <p:guideLst>
        <p:guide orient="horz" pos="1093"/>
        <p:guide pos="619"/>
        <p:guide orient="horz" pos="2478"/>
        <p:guide orient="horz" pos="2704"/>
        <p:guide orient="horz" pos="4086"/>
        <p:guide orient="horz" pos="2592"/>
        <p:guide pos="7422"/>
        <p:guide pos="2139"/>
        <p:guide pos="3908"/>
        <p:guide pos="2376"/>
        <p:guide pos="5666"/>
        <p:guide pos="5894"/>
        <p:guide pos="4134"/>
        <p:guide pos="402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9410"/>
        <p:guide pos="2980"/>
        <p:guide orient="horz" pos="9336"/>
        <p:guide pos="271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handoutMaster" Target="handoutMasters/handoutMaster1.xml"/><Relationship Id="rId23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jandro De Los Rios" userId="7d5ae319-d8c1-4ccb-b24d-31711060de9a" providerId="ADAL" clId="{C6562660-C71B-4CDA-8B2A-55F5710B5114}"/>
    <pc:docChg chg="custSel modSld">
      <pc:chgData name="Alejandro De Los Rios" userId="7d5ae319-d8c1-4ccb-b24d-31711060de9a" providerId="ADAL" clId="{C6562660-C71B-4CDA-8B2A-55F5710B5114}" dt="2022-02-09T15:06:27.296" v="555" actId="20577"/>
      <pc:docMkLst>
        <pc:docMk/>
      </pc:docMkLst>
      <pc:sldChg chg="addSp modSp mod">
        <pc:chgData name="Alejandro De Los Rios" userId="7d5ae319-d8c1-4ccb-b24d-31711060de9a" providerId="ADAL" clId="{C6562660-C71B-4CDA-8B2A-55F5710B5114}" dt="2022-02-09T15:03:52.093" v="358" actId="14100"/>
        <pc:sldMkLst>
          <pc:docMk/>
          <pc:sldMk cId="1754616175" sldId="1543"/>
        </pc:sldMkLst>
        <pc:spChg chg="add mod">
          <ac:chgData name="Alejandro De Los Rios" userId="7d5ae319-d8c1-4ccb-b24d-31711060de9a" providerId="ADAL" clId="{C6562660-C71B-4CDA-8B2A-55F5710B5114}" dt="2022-02-09T15:03:52.093" v="358" actId="14100"/>
          <ac:spMkLst>
            <pc:docMk/>
            <pc:sldMk cId="1754616175" sldId="1543"/>
            <ac:spMk id="9" creationId="{9C1E2D3E-57FF-4710-94A2-487FDCA5B677}"/>
          </ac:spMkLst>
        </pc:spChg>
      </pc:sldChg>
      <pc:sldChg chg="addSp modSp mod">
        <pc:chgData name="Alejandro De Los Rios" userId="7d5ae319-d8c1-4ccb-b24d-31711060de9a" providerId="ADAL" clId="{C6562660-C71B-4CDA-8B2A-55F5710B5114}" dt="2022-02-09T15:06:27.296" v="555" actId="20577"/>
        <pc:sldMkLst>
          <pc:docMk/>
          <pc:sldMk cId="2123438144" sldId="1547"/>
        </pc:sldMkLst>
        <pc:spChg chg="mod">
          <ac:chgData name="Alejandro De Los Rios" userId="7d5ae319-d8c1-4ccb-b24d-31711060de9a" providerId="ADAL" clId="{C6562660-C71B-4CDA-8B2A-55F5710B5114}" dt="2022-02-09T15:06:07.329" v="550" actId="1076"/>
          <ac:spMkLst>
            <pc:docMk/>
            <pc:sldMk cId="2123438144" sldId="1547"/>
            <ac:spMk id="3" creationId="{D94B8522-216A-491F-8EF5-B7EE251B7B97}"/>
          </ac:spMkLst>
        </pc:spChg>
        <pc:spChg chg="add mod">
          <ac:chgData name="Alejandro De Los Rios" userId="7d5ae319-d8c1-4ccb-b24d-31711060de9a" providerId="ADAL" clId="{C6562660-C71B-4CDA-8B2A-55F5710B5114}" dt="2022-02-09T15:06:27.296" v="555" actId="20577"/>
          <ac:spMkLst>
            <pc:docMk/>
            <pc:sldMk cId="2123438144" sldId="1547"/>
            <ac:spMk id="8" creationId="{76F0D251-3C0C-42A9-8027-DBEC28115D66}"/>
          </ac:spMkLst>
        </pc:spChg>
      </pc:sldChg>
    </pc:docChg>
  </pc:docChgLst>
  <pc:docChgLst>
    <pc:chgData name="Alejandro De Los Rios" userId="7d5ae319-d8c1-4ccb-b24d-31711060de9a" providerId="ADAL" clId="{1AC107A6-BCE1-41E7-A889-630FF1B8EB25}"/>
    <pc:docChg chg="custSel modSld">
      <pc:chgData name="Alejandro De Los Rios" userId="7d5ae319-d8c1-4ccb-b24d-31711060de9a" providerId="ADAL" clId="{1AC107A6-BCE1-41E7-A889-630FF1B8EB25}" dt="2023-01-09T15:52:05.438" v="86" actId="20577"/>
      <pc:docMkLst>
        <pc:docMk/>
      </pc:docMkLst>
      <pc:sldChg chg="modNotesTx">
        <pc:chgData name="Alejandro De Los Rios" userId="7d5ae319-d8c1-4ccb-b24d-31711060de9a" providerId="ADAL" clId="{1AC107A6-BCE1-41E7-A889-630FF1B8EB25}" dt="2023-01-09T15:52:05.438" v="86" actId="20577"/>
        <pc:sldMkLst>
          <pc:docMk/>
          <pc:sldMk cId="2123438144" sldId="1547"/>
        </pc:sldMkLst>
      </pc:sldChg>
    </pc:docChg>
  </pc:docChgLst>
  <pc:docChgLst>
    <pc:chgData name="Alejandro De Los Rios" userId="S::alejandro.delosrios@bayer.com::7d5ae319-d8c1-4ccb-b24d-31711060de9a" providerId="AD" clId="Web-{D53209D4-B3F7-AABA-64E4-CFC3575B61C2}"/>
    <pc:docChg chg="modSld">
      <pc:chgData name="Alejandro De Los Rios" userId="S::alejandro.delosrios@bayer.com::7d5ae319-d8c1-4ccb-b24d-31711060de9a" providerId="AD" clId="Web-{D53209D4-B3F7-AABA-64E4-CFC3575B61C2}" dt="2022-03-07T19:01:04.760" v="1"/>
      <pc:docMkLst>
        <pc:docMk/>
      </pc:docMkLst>
      <pc:sldChg chg="addSp delSp">
        <pc:chgData name="Alejandro De Los Rios" userId="S::alejandro.delosrios@bayer.com::7d5ae319-d8c1-4ccb-b24d-31711060de9a" providerId="AD" clId="Web-{D53209D4-B3F7-AABA-64E4-CFC3575B61C2}" dt="2022-03-07T19:01:04.760" v="1"/>
        <pc:sldMkLst>
          <pc:docMk/>
          <pc:sldMk cId="1340421614" sldId="1545"/>
        </pc:sldMkLst>
        <pc:graphicFrameChg chg="add del">
          <ac:chgData name="Alejandro De Los Rios" userId="S::alejandro.delosrios@bayer.com::7d5ae319-d8c1-4ccb-b24d-31711060de9a" providerId="AD" clId="Web-{D53209D4-B3F7-AABA-64E4-CFC3575B61C2}" dt="2022-03-07T19:01:04.760" v="1"/>
          <ac:graphicFrameMkLst>
            <pc:docMk/>
            <pc:sldMk cId="1340421614" sldId="1545"/>
            <ac:graphicFrameMk id="10" creationId="{E564BA30-019C-4A4F-B429-89BEBCED3570}"/>
          </ac:graphicFrameMkLst>
        </pc:graphicFrameChg>
      </pc:sldChg>
    </pc:docChg>
  </pc:docChgLst>
  <pc:docChgLst>
    <pc:chgData name="Soraya San Rojas" userId="ee699595-9862-4f38-82a0-7140b1d27971" providerId="ADAL" clId="{6FF6D8F4-04A3-42DD-B8D7-52A4A47C32FA}"/>
    <pc:docChg chg="undo redo custSel modSld">
      <pc:chgData name="Soraya San Rojas" userId="ee699595-9862-4f38-82a0-7140b1d27971" providerId="ADAL" clId="{6FF6D8F4-04A3-42DD-B8D7-52A4A47C32FA}" dt="2022-02-08T21:07:18.018" v="48" actId="1076"/>
      <pc:docMkLst>
        <pc:docMk/>
      </pc:docMkLst>
      <pc:sldChg chg="addSp delSp modSp mod">
        <pc:chgData name="Soraya San Rojas" userId="ee699595-9862-4f38-82a0-7140b1d27971" providerId="ADAL" clId="{6FF6D8F4-04A3-42DD-B8D7-52A4A47C32FA}" dt="2022-02-08T21:07:18.018" v="48" actId="1076"/>
        <pc:sldMkLst>
          <pc:docMk/>
          <pc:sldMk cId="1340421614" sldId="1545"/>
        </pc:sldMkLst>
        <pc:graphicFrameChg chg="add del mod">
          <ac:chgData name="Soraya San Rojas" userId="ee699595-9862-4f38-82a0-7140b1d27971" providerId="ADAL" clId="{6FF6D8F4-04A3-42DD-B8D7-52A4A47C32FA}" dt="2022-02-08T21:06:18.978" v="28" actId="478"/>
          <ac:graphicFrameMkLst>
            <pc:docMk/>
            <pc:sldMk cId="1340421614" sldId="1545"/>
            <ac:graphicFrameMk id="3" creationId="{15F78717-A36E-4E15-870E-31EFCE80B74F}"/>
          </ac:graphicFrameMkLst>
        </pc:graphicFrameChg>
        <pc:graphicFrameChg chg="mod">
          <ac:chgData name="Soraya San Rojas" userId="ee699595-9862-4f38-82a0-7140b1d27971" providerId="ADAL" clId="{6FF6D8F4-04A3-42DD-B8D7-52A4A47C32FA}" dt="2022-02-08T21:06:46.067" v="40" actId="1076"/>
          <ac:graphicFrameMkLst>
            <pc:docMk/>
            <pc:sldMk cId="1340421614" sldId="1545"/>
            <ac:graphicFrameMk id="6" creationId="{93712742-D784-44A0-84ED-76A41AC8E1E3}"/>
          </ac:graphicFrameMkLst>
        </pc:graphicFrameChg>
        <pc:graphicFrameChg chg="mod">
          <ac:chgData name="Soraya San Rojas" userId="ee699595-9862-4f38-82a0-7140b1d27971" providerId="ADAL" clId="{6FF6D8F4-04A3-42DD-B8D7-52A4A47C32FA}" dt="2022-02-08T21:07:18.018" v="48" actId="1076"/>
          <ac:graphicFrameMkLst>
            <pc:docMk/>
            <pc:sldMk cId="1340421614" sldId="1545"/>
            <ac:graphicFrameMk id="9" creationId="{498287FF-E783-48B0-94D2-9E1C7B043ECE}"/>
          </ac:graphicFrameMkLst>
        </pc:graphicFrameChg>
        <pc:picChg chg="del mod">
          <ac:chgData name="Soraya San Rojas" userId="ee699595-9862-4f38-82a0-7140b1d27971" providerId="ADAL" clId="{6FF6D8F4-04A3-42DD-B8D7-52A4A47C32FA}" dt="2022-02-08T21:06:47.789" v="41" actId="478"/>
          <ac:picMkLst>
            <pc:docMk/>
            <pc:sldMk cId="1340421614" sldId="1545"/>
            <ac:picMk id="7" creationId="{48EA2E4E-E5FD-4722-B043-2D9757FB3235}"/>
          </ac:picMkLst>
        </pc:picChg>
        <pc:picChg chg="add del">
          <ac:chgData name="Soraya San Rojas" userId="ee699595-9862-4f38-82a0-7140b1d27971" providerId="ADAL" clId="{6FF6D8F4-04A3-42DD-B8D7-52A4A47C32FA}" dt="2022-02-08T21:01:40.482" v="18" actId="478"/>
          <ac:picMkLst>
            <pc:docMk/>
            <pc:sldMk cId="1340421614" sldId="1545"/>
            <ac:picMk id="12" creationId="{C24759E2-226E-4471-8079-B34DD4531524}"/>
          </ac:picMkLst>
        </pc:picChg>
      </pc:sldChg>
      <pc:sldChg chg="modSp">
        <pc:chgData name="Soraya San Rojas" userId="ee699595-9862-4f38-82a0-7140b1d27971" providerId="ADAL" clId="{6FF6D8F4-04A3-42DD-B8D7-52A4A47C32FA}" dt="2022-02-08T20:46:23.352" v="0"/>
        <pc:sldMkLst>
          <pc:docMk/>
          <pc:sldMk cId="2123438144" sldId="1547"/>
        </pc:sldMkLst>
        <pc:graphicFrameChg chg="mod">
          <ac:chgData name="Soraya San Rojas" userId="ee699595-9862-4f38-82a0-7140b1d27971" providerId="ADAL" clId="{6FF6D8F4-04A3-42DD-B8D7-52A4A47C32FA}" dt="2022-02-08T20:46:23.352" v="0"/>
          <ac:graphicFrameMkLst>
            <pc:docMk/>
            <pc:sldMk cId="2123438144" sldId="1547"/>
            <ac:graphicFrameMk id="9" creationId="{E8CD2AED-0F7A-46B4-8127-E625EA99D05E}"/>
          </ac:graphicFrameMkLst>
        </pc:graphicFrameChg>
      </pc:sldChg>
    </pc:docChg>
  </pc:docChgLst>
  <pc:docChgLst>
    <pc:chgData name="Alejandro De Los Rios" userId="S::alejandro.delosrios@bayer.com::7d5ae319-d8c1-4ccb-b24d-31711060de9a" providerId="AD" clId="Web-{BF582161-8A8C-7F8E-DC95-53A16B528FE0}"/>
    <pc:docChg chg="modSld">
      <pc:chgData name="Alejandro De Los Rios" userId="S::alejandro.delosrios@bayer.com::7d5ae319-d8c1-4ccb-b24d-31711060de9a" providerId="AD" clId="Web-{BF582161-8A8C-7F8E-DC95-53A16B528FE0}" dt="2022-02-09T14:59:14.360" v="6"/>
      <pc:docMkLst>
        <pc:docMk/>
      </pc:docMkLst>
      <pc:sldChg chg="addSp delSp modSp">
        <pc:chgData name="Alejandro De Los Rios" userId="S::alejandro.delosrios@bayer.com::7d5ae319-d8c1-4ccb-b24d-31711060de9a" providerId="AD" clId="Web-{BF582161-8A8C-7F8E-DC95-53A16B528FE0}" dt="2022-02-09T14:58:52.859" v="5" actId="1076"/>
        <pc:sldMkLst>
          <pc:docMk/>
          <pc:sldMk cId="48134574" sldId="1549"/>
        </pc:sldMkLst>
        <pc:graphicFrameChg chg="mod">
          <ac:chgData name="Alejandro De Los Rios" userId="S::alejandro.delosrios@bayer.com::7d5ae319-d8c1-4ccb-b24d-31711060de9a" providerId="AD" clId="Web-{BF582161-8A8C-7F8E-DC95-53A16B528FE0}" dt="2022-02-09T14:58:52.859" v="5" actId="1076"/>
          <ac:graphicFrameMkLst>
            <pc:docMk/>
            <pc:sldMk cId="48134574" sldId="1549"/>
            <ac:graphicFrameMk id="6" creationId="{58DC5132-33B0-48FF-9235-D490525FBD4B}"/>
          </ac:graphicFrameMkLst>
        </pc:graphicFrameChg>
        <pc:picChg chg="add del mod">
          <ac:chgData name="Alejandro De Los Rios" userId="S::alejandro.delosrios@bayer.com::7d5ae319-d8c1-4ccb-b24d-31711060de9a" providerId="AD" clId="Web-{BF582161-8A8C-7F8E-DC95-53A16B528FE0}" dt="2022-02-09T14:58:23.828" v="2"/>
          <ac:picMkLst>
            <pc:docMk/>
            <pc:sldMk cId="48134574" sldId="1549"/>
            <ac:picMk id="2" creationId="{C21D0AE1-0EDF-4A90-9644-2C64DB06C41B}"/>
          </ac:picMkLst>
        </pc:picChg>
      </pc:sldChg>
      <pc:sldChg chg="addSp">
        <pc:chgData name="Alejandro De Los Rios" userId="S::alejandro.delosrios@bayer.com::7d5ae319-d8c1-4ccb-b24d-31711060de9a" providerId="AD" clId="Web-{BF582161-8A8C-7F8E-DC95-53A16B528FE0}" dt="2022-02-09T14:59:14.360" v="6"/>
        <pc:sldMkLst>
          <pc:docMk/>
          <pc:sldMk cId="3089176527" sldId="1551"/>
        </pc:sldMkLst>
        <pc:spChg chg="add">
          <ac:chgData name="Alejandro De Los Rios" userId="S::alejandro.delosrios@bayer.com::7d5ae319-d8c1-4ccb-b24d-31711060de9a" providerId="AD" clId="Web-{BF582161-8A8C-7F8E-DC95-53A16B528FE0}" dt="2022-02-09T14:59:14.360" v="6"/>
          <ac:spMkLst>
            <pc:docMk/>
            <pc:sldMk cId="3089176527" sldId="1551"/>
            <ac:spMk id="2" creationId="{C7254FFF-9E02-466B-A749-D22036DD70AE}"/>
          </ac:spMkLst>
        </pc:spChg>
      </pc:sldChg>
    </pc:docChg>
  </pc:docChgLst>
  <pc:docChgLst>
    <pc:chgData name="Soraya San Rojas" userId="ee699595-9862-4f38-82a0-7140b1d27971" providerId="ADAL" clId="{24C387E1-0483-416D-88B8-0C8D9FE5A487}"/>
    <pc:docChg chg="undo redo custSel addSld delSld modSld sldOrd modSection">
      <pc:chgData name="Soraya San Rojas" userId="ee699595-9862-4f38-82a0-7140b1d27971" providerId="ADAL" clId="{24C387E1-0483-416D-88B8-0C8D9FE5A487}" dt="2023-04-19T21:55:15.527" v="7500" actId="2085"/>
      <pc:docMkLst>
        <pc:docMk/>
      </pc:docMkLst>
      <pc:sldChg chg="addSp delSp modSp mod setBg delAnim modAnim">
        <pc:chgData name="Soraya San Rojas" userId="ee699595-9862-4f38-82a0-7140b1d27971" providerId="ADAL" clId="{24C387E1-0483-416D-88B8-0C8D9FE5A487}" dt="2023-04-19T19:11:42.542" v="1986" actId="1076"/>
        <pc:sldMkLst>
          <pc:docMk/>
          <pc:sldMk cId="744808691" sldId="299"/>
        </pc:sldMkLst>
        <pc:spChg chg="mod">
          <ac:chgData name="Soraya San Rojas" userId="ee699595-9862-4f38-82a0-7140b1d27971" providerId="ADAL" clId="{24C387E1-0483-416D-88B8-0C8D9FE5A487}" dt="2023-04-17T15:05:26.460" v="426" actId="1076"/>
          <ac:spMkLst>
            <pc:docMk/>
            <pc:sldMk cId="744808691" sldId="299"/>
            <ac:spMk id="2" creationId="{00000000-0000-0000-0000-000000000000}"/>
          </ac:spMkLst>
        </pc:spChg>
        <pc:spChg chg="mod">
          <ac:chgData name="Soraya San Rojas" userId="ee699595-9862-4f38-82a0-7140b1d27971" providerId="ADAL" clId="{24C387E1-0483-416D-88B8-0C8D9FE5A487}" dt="2023-04-14T18:32:44.110" v="76" actId="20577"/>
          <ac:spMkLst>
            <pc:docMk/>
            <pc:sldMk cId="744808691" sldId="299"/>
            <ac:spMk id="10" creationId="{00000000-0000-0000-0000-000000000000}"/>
          </ac:spMkLst>
        </pc:spChg>
        <pc:spChg chg="mod">
          <ac:chgData name="Soraya San Rojas" userId="ee699595-9862-4f38-82a0-7140b1d27971" providerId="ADAL" clId="{24C387E1-0483-416D-88B8-0C8D9FE5A487}" dt="2023-04-17T15:05:29.592" v="427" actId="1076"/>
          <ac:spMkLst>
            <pc:docMk/>
            <pc:sldMk cId="744808691" sldId="299"/>
            <ac:spMk id="13" creationId="{00000000-0000-0000-0000-000000000000}"/>
          </ac:spMkLst>
        </pc:spChg>
        <pc:picChg chg="add mod">
          <ac:chgData name="Soraya San Rojas" userId="ee699595-9862-4f38-82a0-7140b1d27971" providerId="ADAL" clId="{24C387E1-0483-416D-88B8-0C8D9FE5A487}" dt="2023-04-19T19:11:42.542" v="1986" actId="1076"/>
          <ac:picMkLst>
            <pc:docMk/>
            <pc:sldMk cId="744808691" sldId="299"/>
            <ac:picMk id="20" creationId="{4ABD9B0D-5AC5-4B5C-9A41-4C873BBFD39E}"/>
          </ac:picMkLst>
        </pc:picChg>
        <pc:picChg chg="add del mod">
          <ac:chgData name="Soraya San Rojas" userId="ee699595-9862-4f38-82a0-7140b1d27971" providerId="ADAL" clId="{24C387E1-0483-416D-88B8-0C8D9FE5A487}" dt="2023-04-17T16:54:06.257" v="840" actId="478"/>
          <ac:picMkLst>
            <pc:docMk/>
            <pc:sldMk cId="744808691" sldId="299"/>
            <ac:picMk id="20" creationId="{AE802DD6-EF4D-49FF-AC76-804F83C284A8}"/>
          </ac:picMkLst>
        </pc:picChg>
        <pc:picChg chg="add del mod">
          <ac:chgData name="Soraya San Rojas" userId="ee699595-9862-4f38-82a0-7140b1d27971" providerId="ADAL" clId="{24C387E1-0483-416D-88B8-0C8D9FE5A487}" dt="2023-04-19T19:11:29.951" v="1981" actId="478"/>
          <ac:picMkLst>
            <pc:docMk/>
            <pc:sldMk cId="744808691" sldId="299"/>
            <ac:picMk id="21" creationId="{4A06FF4E-7720-4BED-96BF-6941CE2109F6}"/>
          </ac:picMkLst>
        </pc:picChg>
        <pc:picChg chg="add del mod">
          <ac:chgData name="Soraya San Rojas" userId="ee699595-9862-4f38-82a0-7140b1d27971" providerId="ADAL" clId="{24C387E1-0483-416D-88B8-0C8D9FE5A487}" dt="2023-04-17T17:01:17.018" v="890" actId="478"/>
          <ac:picMkLst>
            <pc:docMk/>
            <pc:sldMk cId="744808691" sldId="299"/>
            <ac:picMk id="22" creationId="{A589BA17-82C7-49E9-8B55-B2272AC5A075}"/>
          </ac:picMkLst>
        </pc:picChg>
        <pc:picChg chg="add del mod">
          <ac:chgData name="Soraya San Rojas" userId="ee699595-9862-4f38-82a0-7140b1d27971" providerId="ADAL" clId="{24C387E1-0483-416D-88B8-0C8D9FE5A487}" dt="2023-04-17T17:09:18.174" v="937" actId="478"/>
          <ac:picMkLst>
            <pc:docMk/>
            <pc:sldMk cId="744808691" sldId="299"/>
            <ac:picMk id="23" creationId="{9D55A92F-6F76-46C0-99C1-3FAB8A83AA05}"/>
          </ac:picMkLst>
        </pc:picChg>
      </pc:sldChg>
      <pc:sldChg chg="addSp delSp modSp del mod ord modClrScheme chgLayout">
        <pc:chgData name="Soraya San Rojas" userId="ee699595-9862-4f38-82a0-7140b1d27971" providerId="ADAL" clId="{24C387E1-0483-416D-88B8-0C8D9FE5A487}" dt="2023-04-19T16:09:39.218" v="1497" actId="47"/>
        <pc:sldMkLst>
          <pc:docMk/>
          <pc:sldMk cId="4277926627" sldId="1536"/>
        </pc:sldMkLst>
        <pc:spChg chg="add del mod ord">
          <ac:chgData name="Soraya San Rojas" userId="ee699595-9862-4f38-82a0-7140b1d27971" providerId="ADAL" clId="{24C387E1-0483-416D-88B8-0C8D9FE5A487}" dt="2023-04-19T15:59:11.994" v="1305" actId="700"/>
          <ac:spMkLst>
            <pc:docMk/>
            <pc:sldMk cId="4277926627" sldId="1536"/>
            <ac:spMk id="2" creationId="{CEAE7F47-C1A1-4779-8808-7054F398E344}"/>
          </ac:spMkLst>
        </pc:spChg>
        <pc:spChg chg="add del mod ord">
          <ac:chgData name="Soraya San Rojas" userId="ee699595-9862-4f38-82a0-7140b1d27971" providerId="ADAL" clId="{24C387E1-0483-416D-88B8-0C8D9FE5A487}" dt="2023-04-17T15:07:20.192" v="429" actId="478"/>
          <ac:spMkLst>
            <pc:docMk/>
            <pc:sldMk cId="4277926627" sldId="1536"/>
            <ac:spMk id="3" creationId="{6579B9B2-4B2B-4816-9377-6E5851C71327}"/>
          </ac:spMkLst>
        </pc:spChg>
        <pc:spChg chg="add del mod ord">
          <ac:chgData name="Soraya San Rojas" userId="ee699595-9862-4f38-82a0-7140b1d27971" providerId="ADAL" clId="{24C387E1-0483-416D-88B8-0C8D9FE5A487}" dt="2023-04-19T16:00:19.096" v="1314" actId="5793"/>
          <ac:spMkLst>
            <pc:docMk/>
            <pc:sldMk cId="4277926627" sldId="1536"/>
            <ac:spMk id="4" creationId="{CE97D583-FD61-4CE3-B76E-1D20C0190DE8}"/>
          </ac:spMkLst>
        </pc:spChg>
        <pc:spChg chg="mod ord">
          <ac:chgData name="Soraya San Rojas" userId="ee699595-9862-4f38-82a0-7140b1d27971" providerId="ADAL" clId="{24C387E1-0483-416D-88B8-0C8D9FE5A487}" dt="2023-04-19T15:59:11.994" v="1305" actId="700"/>
          <ac:spMkLst>
            <pc:docMk/>
            <pc:sldMk cId="4277926627" sldId="1536"/>
            <ac:spMk id="5" creationId="{10D000F6-1180-49AA-B536-4A84CB573B70}"/>
          </ac:spMkLst>
        </pc:spChg>
        <pc:spChg chg="del">
          <ac:chgData name="Soraya San Rojas" userId="ee699595-9862-4f38-82a0-7140b1d27971" providerId="ADAL" clId="{24C387E1-0483-416D-88B8-0C8D9FE5A487}" dt="2023-04-14T18:35:15.001" v="176" actId="478"/>
          <ac:spMkLst>
            <pc:docMk/>
            <pc:sldMk cId="4277926627" sldId="1536"/>
            <ac:spMk id="6" creationId="{149EA848-6EDC-4645-89F6-FC2087C0C23A}"/>
          </ac:spMkLst>
        </pc:spChg>
        <pc:spChg chg="add del mod ord">
          <ac:chgData name="Soraya San Rojas" userId="ee699595-9862-4f38-82a0-7140b1d27971" providerId="ADAL" clId="{24C387E1-0483-416D-88B8-0C8D9FE5A487}" dt="2023-04-17T15:15:19.028" v="452" actId="700"/>
          <ac:spMkLst>
            <pc:docMk/>
            <pc:sldMk cId="4277926627" sldId="1536"/>
            <ac:spMk id="6" creationId="{47AE97B0-AEEA-4C71-83C8-F95AB99A8043}"/>
          </ac:spMkLst>
        </pc:spChg>
        <pc:spChg chg="add del mod ord">
          <ac:chgData name="Soraya San Rojas" userId="ee699595-9862-4f38-82a0-7140b1d27971" providerId="ADAL" clId="{24C387E1-0483-416D-88B8-0C8D9FE5A487}" dt="2023-04-17T15:21:37.736" v="585" actId="700"/>
          <ac:spMkLst>
            <pc:docMk/>
            <pc:sldMk cId="4277926627" sldId="1536"/>
            <ac:spMk id="7" creationId="{98D94437-B090-4A51-97D0-F981266AC5A7}"/>
          </ac:spMkLst>
        </pc:spChg>
        <pc:spChg chg="add mod ord">
          <ac:chgData name="Soraya San Rojas" userId="ee699595-9862-4f38-82a0-7140b1d27971" providerId="ADAL" clId="{24C387E1-0483-416D-88B8-0C8D9FE5A487}" dt="2023-04-19T15:59:29.637" v="1306" actId="1076"/>
          <ac:spMkLst>
            <pc:docMk/>
            <pc:sldMk cId="4277926627" sldId="1536"/>
            <ac:spMk id="9" creationId="{3EC9DCC2-35EF-4B8F-8E0F-341B4DC71720}"/>
          </ac:spMkLst>
        </pc:spChg>
        <pc:spChg chg="add mod">
          <ac:chgData name="Soraya San Rojas" userId="ee699595-9862-4f38-82a0-7140b1d27971" providerId="ADAL" clId="{24C387E1-0483-416D-88B8-0C8D9FE5A487}" dt="2023-04-17T15:23:52.845" v="614" actId="20577"/>
          <ac:spMkLst>
            <pc:docMk/>
            <pc:sldMk cId="4277926627" sldId="1536"/>
            <ac:spMk id="10" creationId="{827D88E5-15E9-43CC-B15F-BF996DDCE461}"/>
          </ac:spMkLst>
        </pc:spChg>
        <pc:spChg chg="add del mod">
          <ac:chgData name="Soraya San Rojas" userId="ee699595-9862-4f38-82a0-7140b1d27971" providerId="ADAL" clId="{24C387E1-0483-416D-88B8-0C8D9FE5A487}" dt="2023-04-17T15:18:45.099" v="553"/>
          <ac:spMkLst>
            <pc:docMk/>
            <pc:sldMk cId="4277926627" sldId="1536"/>
            <ac:spMk id="13" creationId="{7C557CCF-FC4B-4575-BA66-D5509A791BD8}"/>
          </ac:spMkLst>
        </pc:spChg>
        <pc:picChg chg="add mod">
          <ac:chgData name="Soraya San Rojas" userId="ee699595-9862-4f38-82a0-7140b1d27971" providerId="ADAL" clId="{24C387E1-0483-416D-88B8-0C8D9FE5A487}" dt="2023-04-19T15:59:32.520" v="1307" actId="1076"/>
          <ac:picMkLst>
            <pc:docMk/>
            <pc:sldMk cId="4277926627" sldId="1536"/>
            <ac:picMk id="11" creationId="{D5181F3F-9B61-4B83-9AFD-FB6E014CFEEC}"/>
          </ac:picMkLst>
        </pc:picChg>
        <pc:picChg chg="add mod">
          <ac:chgData name="Soraya San Rojas" userId="ee699595-9862-4f38-82a0-7140b1d27971" providerId="ADAL" clId="{24C387E1-0483-416D-88B8-0C8D9FE5A487}" dt="2023-04-19T15:59:34.448" v="1308" actId="1076"/>
          <ac:picMkLst>
            <pc:docMk/>
            <pc:sldMk cId="4277926627" sldId="1536"/>
            <ac:picMk id="14" creationId="{DD9B7DEB-1582-4B88-B11E-2EEC6F43F939}"/>
          </ac:picMkLst>
        </pc:picChg>
        <pc:picChg chg="del">
          <ac:chgData name="Soraya San Rojas" userId="ee699595-9862-4f38-82a0-7140b1d27971" providerId="ADAL" clId="{24C387E1-0483-416D-88B8-0C8D9FE5A487}" dt="2023-04-14T18:34:11.527" v="122" actId="478"/>
          <ac:picMkLst>
            <pc:docMk/>
            <pc:sldMk cId="4277926627" sldId="1536"/>
            <ac:picMk id="15" creationId="{354F1FA9-05DB-460D-9A0D-A05EE0BC2407}"/>
          </ac:picMkLst>
        </pc:picChg>
        <pc:picChg chg="add mod">
          <ac:chgData name="Soraya San Rojas" userId="ee699595-9862-4f38-82a0-7140b1d27971" providerId="ADAL" clId="{24C387E1-0483-416D-88B8-0C8D9FE5A487}" dt="2023-04-19T15:59:37.080" v="1309" actId="1076"/>
          <ac:picMkLst>
            <pc:docMk/>
            <pc:sldMk cId="4277926627" sldId="1536"/>
            <ac:picMk id="16" creationId="{3F53EBAD-8999-47A0-9A8D-FFD86367571B}"/>
          </ac:picMkLst>
        </pc:picChg>
        <pc:picChg chg="del">
          <ac:chgData name="Soraya San Rojas" userId="ee699595-9862-4f38-82a0-7140b1d27971" providerId="ADAL" clId="{24C387E1-0483-416D-88B8-0C8D9FE5A487}" dt="2023-04-14T18:34:07.503" v="119" actId="478"/>
          <ac:picMkLst>
            <pc:docMk/>
            <pc:sldMk cId="4277926627" sldId="1536"/>
            <ac:picMk id="16" creationId="{DF16A992-02D0-48F6-AEBE-64C5F77E01B9}"/>
          </ac:picMkLst>
        </pc:picChg>
        <pc:picChg chg="del">
          <ac:chgData name="Soraya San Rojas" userId="ee699595-9862-4f38-82a0-7140b1d27971" providerId="ADAL" clId="{24C387E1-0483-416D-88B8-0C8D9FE5A487}" dt="2023-04-14T18:34:09.162" v="121" actId="478"/>
          <ac:picMkLst>
            <pc:docMk/>
            <pc:sldMk cId="4277926627" sldId="1536"/>
            <ac:picMk id="18" creationId="{289F8F54-807D-4269-9A2D-D78B2372FF38}"/>
          </ac:picMkLst>
        </pc:picChg>
        <pc:picChg chg="add mod">
          <ac:chgData name="Soraya San Rojas" userId="ee699595-9862-4f38-82a0-7140b1d27971" providerId="ADAL" clId="{24C387E1-0483-416D-88B8-0C8D9FE5A487}" dt="2023-04-19T14:01:53.941" v="1065" actId="1076"/>
          <ac:picMkLst>
            <pc:docMk/>
            <pc:sldMk cId="4277926627" sldId="1536"/>
            <ac:picMk id="18" creationId="{FA0994AE-9736-4F86-8A2B-697ADE743A29}"/>
          </ac:picMkLst>
        </pc:picChg>
        <pc:picChg chg="del">
          <ac:chgData name="Soraya San Rojas" userId="ee699595-9862-4f38-82a0-7140b1d27971" providerId="ADAL" clId="{24C387E1-0483-416D-88B8-0C8D9FE5A487}" dt="2023-04-14T18:34:08.256" v="120" actId="478"/>
          <ac:picMkLst>
            <pc:docMk/>
            <pc:sldMk cId="4277926627" sldId="1536"/>
            <ac:picMk id="20" creationId="{CD9BC2FE-6EF6-401F-8FFB-452B6CA76443}"/>
          </ac:picMkLst>
        </pc:picChg>
        <pc:picChg chg="add mod">
          <ac:chgData name="Soraya San Rojas" userId="ee699595-9862-4f38-82a0-7140b1d27971" providerId="ADAL" clId="{24C387E1-0483-416D-88B8-0C8D9FE5A487}" dt="2023-04-19T15:59:44.366" v="1310" actId="1076"/>
          <ac:picMkLst>
            <pc:docMk/>
            <pc:sldMk cId="4277926627" sldId="1536"/>
            <ac:picMk id="20" creationId="{F4742E85-E63A-4532-A877-7A9EA08BCF54}"/>
          </ac:picMkLst>
        </pc:picChg>
        <pc:picChg chg="del">
          <ac:chgData name="Soraya San Rojas" userId="ee699595-9862-4f38-82a0-7140b1d27971" providerId="ADAL" clId="{24C387E1-0483-416D-88B8-0C8D9FE5A487}" dt="2023-04-14T18:34:06.738" v="118" actId="478"/>
          <ac:picMkLst>
            <pc:docMk/>
            <pc:sldMk cId="4277926627" sldId="1536"/>
            <ac:picMk id="21" creationId="{417DD77C-0C7D-4780-A807-4D0945986588}"/>
          </ac:picMkLst>
        </pc:picChg>
        <pc:picChg chg="add mod">
          <ac:chgData name="Soraya San Rojas" userId="ee699595-9862-4f38-82a0-7140b1d27971" providerId="ADAL" clId="{24C387E1-0483-416D-88B8-0C8D9FE5A487}" dt="2023-04-19T14:02:14.685" v="1069" actId="1076"/>
          <ac:picMkLst>
            <pc:docMk/>
            <pc:sldMk cId="4277926627" sldId="1536"/>
            <ac:picMk id="22" creationId="{1D180CF0-DC55-4B92-B147-A41E008178A0}"/>
          </ac:picMkLst>
        </pc:picChg>
        <pc:picChg chg="add mod">
          <ac:chgData name="Soraya San Rojas" userId="ee699595-9862-4f38-82a0-7140b1d27971" providerId="ADAL" clId="{24C387E1-0483-416D-88B8-0C8D9FE5A487}" dt="2023-04-19T15:59:47.343" v="1311" actId="1076"/>
          <ac:picMkLst>
            <pc:docMk/>
            <pc:sldMk cId="4277926627" sldId="1536"/>
            <ac:picMk id="24" creationId="{D5728749-07B3-40A4-B7B5-C8D15EFC176D}"/>
          </ac:picMkLst>
        </pc:picChg>
        <pc:picChg chg="add del mod">
          <ac:chgData name="Soraya San Rojas" userId="ee699595-9862-4f38-82a0-7140b1d27971" providerId="ADAL" clId="{24C387E1-0483-416D-88B8-0C8D9FE5A487}" dt="2023-04-17T17:02:09.331" v="906" actId="478"/>
          <ac:picMkLst>
            <pc:docMk/>
            <pc:sldMk cId="4277926627" sldId="1536"/>
            <ac:picMk id="26" creationId="{AAFF1E14-08C8-4E18-88D9-72BF59E797DD}"/>
          </ac:picMkLst>
        </pc:picChg>
        <pc:picChg chg="add mod">
          <ac:chgData name="Soraya San Rojas" userId="ee699595-9862-4f38-82a0-7140b1d27971" providerId="ADAL" clId="{24C387E1-0483-416D-88B8-0C8D9FE5A487}" dt="2023-04-17T17:02:12.259" v="907" actId="1076"/>
          <ac:picMkLst>
            <pc:docMk/>
            <pc:sldMk cId="4277926627" sldId="1536"/>
            <ac:picMk id="27" creationId="{8FC7EEB6-7255-404C-B60E-1001BEA97EAB}"/>
          </ac:picMkLst>
        </pc:picChg>
      </pc:sldChg>
      <pc:sldChg chg="addSp delSp modSp mod setBg">
        <pc:chgData name="Soraya San Rojas" userId="ee699595-9862-4f38-82a0-7140b1d27971" providerId="ADAL" clId="{24C387E1-0483-416D-88B8-0C8D9FE5A487}" dt="2023-04-19T19:12:06.771" v="1990"/>
        <pc:sldMkLst>
          <pc:docMk/>
          <pc:sldMk cId="2834590880" sldId="1552"/>
        </pc:sldMkLst>
        <pc:spChg chg="del">
          <ac:chgData name="Soraya San Rojas" userId="ee699595-9862-4f38-82a0-7140b1d27971" providerId="ADAL" clId="{24C387E1-0483-416D-88B8-0C8D9FE5A487}" dt="2023-04-14T18:33:16.052" v="97" actId="478"/>
          <ac:spMkLst>
            <pc:docMk/>
            <pc:sldMk cId="2834590880" sldId="1552"/>
            <ac:spMk id="2" creationId="{00000000-0000-0000-0000-000000000000}"/>
          </ac:spMkLst>
        </pc:spChg>
        <pc:spChg chg="add del mod">
          <ac:chgData name="Soraya San Rojas" userId="ee699595-9862-4f38-82a0-7140b1d27971" providerId="ADAL" clId="{24C387E1-0483-416D-88B8-0C8D9FE5A487}" dt="2023-04-14T18:33:18.127" v="98" actId="478"/>
          <ac:spMkLst>
            <pc:docMk/>
            <pc:sldMk cId="2834590880" sldId="1552"/>
            <ac:spMk id="6" creationId="{A4F8CAD0-6E00-4D35-9615-CB2AE6A203E7}"/>
          </ac:spMkLst>
        </pc:spChg>
        <pc:spChg chg="mod">
          <ac:chgData name="Soraya San Rojas" userId="ee699595-9862-4f38-82a0-7140b1d27971" providerId="ADAL" clId="{24C387E1-0483-416D-88B8-0C8D9FE5A487}" dt="2023-04-17T14:50:49.578" v="408" actId="20577"/>
          <ac:spMkLst>
            <pc:docMk/>
            <pc:sldMk cId="2834590880" sldId="1552"/>
            <ac:spMk id="10" creationId="{00000000-0000-0000-0000-000000000000}"/>
          </ac:spMkLst>
        </pc:spChg>
        <pc:spChg chg="mod">
          <ac:chgData name="Soraya San Rojas" userId="ee699595-9862-4f38-82a0-7140b1d27971" providerId="ADAL" clId="{24C387E1-0483-416D-88B8-0C8D9FE5A487}" dt="2023-04-14T18:33:58.327" v="117" actId="1076"/>
          <ac:spMkLst>
            <pc:docMk/>
            <pc:sldMk cId="2834590880" sldId="1552"/>
            <ac:spMk id="13" creationId="{00000000-0000-0000-0000-000000000000}"/>
          </ac:spMkLst>
        </pc:spChg>
        <pc:picChg chg="add del mod">
          <ac:chgData name="Soraya San Rojas" userId="ee699595-9862-4f38-82a0-7140b1d27971" providerId="ADAL" clId="{24C387E1-0483-416D-88B8-0C8D9FE5A487}" dt="2023-04-17T15:05:13.790" v="423" actId="21"/>
          <ac:picMkLst>
            <pc:docMk/>
            <pc:sldMk cId="2834590880" sldId="1552"/>
            <ac:picMk id="5" creationId="{0439EC57-C98E-4AA9-A89C-E87B08069B8A}"/>
          </ac:picMkLst>
        </pc:picChg>
        <pc:picChg chg="add del mod">
          <ac:chgData name="Soraya San Rojas" userId="ee699595-9862-4f38-82a0-7140b1d27971" providerId="ADAL" clId="{24C387E1-0483-416D-88B8-0C8D9FE5A487}" dt="2023-04-19T19:12:02.817" v="1989" actId="478"/>
          <ac:picMkLst>
            <pc:docMk/>
            <pc:sldMk cId="2834590880" sldId="1552"/>
            <ac:picMk id="20" creationId="{C5336AC6-2126-42D9-B7D6-69DF073D2A94}"/>
          </ac:picMkLst>
        </pc:picChg>
        <pc:picChg chg="add mod">
          <ac:chgData name="Soraya San Rojas" userId="ee699595-9862-4f38-82a0-7140b1d27971" providerId="ADAL" clId="{24C387E1-0483-416D-88B8-0C8D9FE5A487}" dt="2023-04-19T19:12:06.771" v="1990"/>
          <ac:picMkLst>
            <pc:docMk/>
            <pc:sldMk cId="2834590880" sldId="1552"/>
            <ac:picMk id="21" creationId="{599EDD28-9546-4BCD-8453-122333BCE71E}"/>
          </ac:picMkLst>
        </pc:picChg>
      </pc:sldChg>
      <pc:sldChg chg="addSp delSp modSp del mod ord">
        <pc:chgData name="Soraya San Rojas" userId="ee699595-9862-4f38-82a0-7140b1d27971" providerId="ADAL" clId="{24C387E1-0483-416D-88B8-0C8D9FE5A487}" dt="2023-04-19T21:53:28.202" v="7478" actId="47"/>
        <pc:sldMkLst>
          <pc:docMk/>
          <pc:sldMk cId="2707389613" sldId="1553"/>
        </pc:sldMkLst>
        <pc:spChg chg="del mod">
          <ac:chgData name="Soraya San Rojas" userId="ee699595-9862-4f38-82a0-7140b1d27971" providerId="ADAL" clId="{24C387E1-0483-416D-88B8-0C8D9FE5A487}" dt="2023-04-17T16:56:08.877" v="860" actId="478"/>
          <ac:spMkLst>
            <pc:docMk/>
            <pc:sldMk cId="2707389613" sldId="1553"/>
            <ac:spMk id="2" creationId="{2E5ED3DE-F2FA-462C-B6F3-6AA2243B0878}"/>
          </ac:spMkLst>
        </pc:spChg>
        <pc:spChg chg="mod">
          <ac:chgData name="Soraya San Rojas" userId="ee699595-9862-4f38-82a0-7140b1d27971" providerId="ADAL" clId="{24C387E1-0483-416D-88B8-0C8D9FE5A487}" dt="2023-04-19T21:14:49.751" v="4908" actId="20577"/>
          <ac:spMkLst>
            <pc:docMk/>
            <pc:sldMk cId="2707389613" sldId="1553"/>
            <ac:spMk id="3" creationId="{FF170AA1-B9DB-46D4-A7E0-EDC63F229A64}"/>
          </ac:spMkLst>
        </pc:spChg>
        <pc:spChg chg="del">
          <ac:chgData name="Soraya San Rojas" userId="ee699595-9862-4f38-82a0-7140b1d27971" providerId="ADAL" clId="{24C387E1-0483-416D-88B8-0C8D9FE5A487}" dt="2023-04-17T17:00:53.346" v="887" actId="478"/>
          <ac:spMkLst>
            <pc:docMk/>
            <pc:sldMk cId="2707389613" sldId="1553"/>
            <ac:spMk id="4" creationId="{BC2FE427-123B-4555-8D25-6A678BC916D0}"/>
          </ac:spMkLst>
        </pc:spChg>
        <pc:spChg chg="del">
          <ac:chgData name="Soraya San Rojas" userId="ee699595-9862-4f38-82a0-7140b1d27971" providerId="ADAL" clId="{24C387E1-0483-416D-88B8-0C8D9FE5A487}" dt="2023-04-14T18:35:34.396" v="213" actId="478"/>
          <ac:spMkLst>
            <pc:docMk/>
            <pc:sldMk cId="2707389613" sldId="1553"/>
            <ac:spMk id="6" creationId="{EF3AF165-E0B5-4C2F-BD52-1E80F7C03015}"/>
          </ac:spMkLst>
        </pc:spChg>
        <pc:spChg chg="del">
          <ac:chgData name="Soraya San Rojas" userId="ee699595-9862-4f38-82a0-7140b1d27971" providerId="ADAL" clId="{24C387E1-0483-416D-88B8-0C8D9FE5A487}" dt="2023-04-14T18:35:35.840" v="214" actId="478"/>
          <ac:spMkLst>
            <pc:docMk/>
            <pc:sldMk cId="2707389613" sldId="1553"/>
            <ac:spMk id="7" creationId="{6B6094A2-56AC-4D04-A55F-FDBE11ADB114}"/>
          </ac:spMkLst>
        </pc:spChg>
        <pc:spChg chg="add del mod">
          <ac:chgData name="Soraya San Rojas" userId="ee699595-9862-4f38-82a0-7140b1d27971" providerId="ADAL" clId="{24C387E1-0483-416D-88B8-0C8D9FE5A487}" dt="2023-04-17T16:56:10.804" v="861" actId="478"/>
          <ac:spMkLst>
            <pc:docMk/>
            <pc:sldMk cId="2707389613" sldId="1553"/>
            <ac:spMk id="8" creationId="{19D4A0A0-435D-40F2-983B-D570B360A3B7}"/>
          </ac:spMkLst>
        </pc:spChg>
        <pc:spChg chg="add del mod">
          <ac:chgData name="Soraya San Rojas" userId="ee699595-9862-4f38-82a0-7140b1d27971" providerId="ADAL" clId="{24C387E1-0483-416D-88B8-0C8D9FE5A487}" dt="2023-04-14T18:35:37.287" v="215" actId="478"/>
          <ac:spMkLst>
            <pc:docMk/>
            <pc:sldMk cId="2707389613" sldId="1553"/>
            <ac:spMk id="9" creationId="{D86B3D4B-8886-49A0-8072-5F4111B8B922}"/>
          </ac:spMkLst>
        </pc:spChg>
        <pc:spChg chg="del">
          <ac:chgData name="Soraya San Rojas" userId="ee699595-9862-4f38-82a0-7140b1d27971" providerId="ADAL" clId="{24C387E1-0483-416D-88B8-0C8D9FE5A487}" dt="2023-04-14T18:35:43.089" v="218" actId="478"/>
          <ac:spMkLst>
            <pc:docMk/>
            <pc:sldMk cId="2707389613" sldId="1553"/>
            <ac:spMk id="10" creationId="{209C368B-49A5-4D60-B254-2E8467A1E073}"/>
          </ac:spMkLst>
        </pc:spChg>
        <pc:spChg chg="del">
          <ac:chgData name="Soraya San Rojas" userId="ee699595-9862-4f38-82a0-7140b1d27971" providerId="ADAL" clId="{24C387E1-0483-416D-88B8-0C8D9FE5A487}" dt="2023-04-14T18:35:44.802" v="219" actId="478"/>
          <ac:spMkLst>
            <pc:docMk/>
            <pc:sldMk cId="2707389613" sldId="1553"/>
            <ac:spMk id="11" creationId="{B14E36D1-BC01-46F2-9198-C5BFE3BC5B2E}"/>
          </ac:spMkLst>
        </pc:spChg>
        <pc:spChg chg="del">
          <ac:chgData name="Soraya San Rojas" userId="ee699595-9862-4f38-82a0-7140b1d27971" providerId="ADAL" clId="{24C387E1-0483-416D-88B8-0C8D9FE5A487}" dt="2023-04-14T18:35:38.377" v="216" actId="478"/>
          <ac:spMkLst>
            <pc:docMk/>
            <pc:sldMk cId="2707389613" sldId="1553"/>
            <ac:spMk id="12" creationId="{97B82B85-4019-45BC-A100-475EF783AE05}"/>
          </ac:spMkLst>
        </pc:spChg>
        <pc:spChg chg="del">
          <ac:chgData name="Soraya San Rojas" userId="ee699595-9862-4f38-82a0-7140b1d27971" providerId="ADAL" clId="{24C387E1-0483-416D-88B8-0C8D9FE5A487}" dt="2023-04-14T18:35:45.961" v="220" actId="478"/>
          <ac:spMkLst>
            <pc:docMk/>
            <pc:sldMk cId="2707389613" sldId="1553"/>
            <ac:spMk id="13" creationId="{21767817-6566-4AD2-AB40-03AD923A13D0}"/>
          </ac:spMkLst>
        </pc:spChg>
        <pc:spChg chg="del">
          <ac:chgData name="Soraya San Rojas" userId="ee699595-9862-4f38-82a0-7140b1d27971" providerId="ADAL" clId="{24C387E1-0483-416D-88B8-0C8D9FE5A487}" dt="2023-04-14T18:35:46.749" v="221" actId="478"/>
          <ac:spMkLst>
            <pc:docMk/>
            <pc:sldMk cId="2707389613" sldId="1553"/>
            <ac:spMk id="14" creationId="{3BDB075E-ACC1-40B1-8181-5142A45859DD}"/>
          </ac:spMkLst>
        </pc:spChg>
        <pc:spChg chg="add del mod">
          <ac:chgData name="Soraya San Rojas" userId="ee699595-9862-4f38-82a0-7140b1d27971" providerId="ADAL" clId="{24C387E1-0483-416D-88B8-0C8D9FE5A487}" dt="2023-04-14T18:35:40.663" v="217" actId="478"/>
          <ac:spMkLst>
            <pc:docMk/>
            <pc:sldMk cId="2707389613" sldId="1553"/>
            <ac:spMk id="16" creationId="{8A3746F3-FBD0-4DB5-B5D5-AFB964E4327B}"/>
          </ac:spMkLst>
        </pc:spChg>
        <pc:graphicFrameChg chg="mod">
          <ac:chgData name="Soraya San Rojas" userId="ee699595-9862-4f38-82a0-7140b1d27971" providerId="ADAL" clId="{24C387E1-0483-416D-88B8-0C8D9FE5A487}" dt="2023-04-19T21:49:35.419" v="7390"/>
          <ac:graphicFrameMkLst>
            <pc:docMk/>
            <pc:sldMk cId="2707389613" sldId="1553"/>
            <ac:graphicFrameMk id="2" creationId="{68030836-0460-4E38-8502-CF562FDF02B0}"/>
          </ac:graphicFrameMkLst>
        </pc:graphicFrameChg>
        <pc:graphicFrameChg chg="del mod">
          <ac:chgData name="Soraya San Rojas" userId="ee699595-9862-4f38-82a0-7140b1d27971" providerId="ADAL" clId="{24C387E1-0483-416D-88B8-0C8D9FE5A487}" dt="2023-04-17T16:55:49.849" v="852" actId="478"/>
          <ac:graphicFrameMkLst>
            <pc:docMk/>
            <pc:sldMk cId="2707389613" sldId="1553"/>
            <ac:graphicFrameMk id="6" creationId="{C001A328-1711-4B98-8360-0822AA03F4FF}"/>
          </ac:graphicFrameMkLst>
        </pc:graphicFrameChg>
        <pc:graphicFrameChg chg="del mod">
          <ac:chgData name="Soraya San Rojas" userId="ee699595-9862-4f38-82a0-7140b1d27971" providerId="ADAL" clId="{24C387E1-0483-416D-88B8-0C8D9FE5A487}" dt="2023-04-19T15:53:48.923" v="1297" actId="478"/>
          <ac:graphicFrameMkLst>
            <pc:docMk/>
            <pc:sldMk cId="2707389613" sldId="1553"/>
            <ac:graphicFrameMk id="9" creationId="{2D35242F-6BD6-4923-B54D-3A725B4733EF}"/>
          </ac:graphicFrameMkLst>
        </pc:graphicFrameChg>
        <pc:picChg chg="add mod">
          <ac:chgData name="Soraya San Rojas" userId="ee699595-9862-4f38-82a0-7140b1d27971" providerId="ADAL" clId="{24C387E1-0483-416D-88B8-0C8D9FE5A487}" dt="2023-04-17T17:02:27.394" v="912" actId="1076"/>
          <ac:picMkLst>
            <pc:docMk/>
            <pc:sldMk cId="2707389613" sldId="1553"/>
            <ac:picMk id="10" creationId="{A21BC56B-38D3-4C3A-A6A2-6F6989F38243}"/>
          </ac:picMkLst>
        </pc:picChg>
      </pc:sldChg>
      <pc:sldChg chg="modSp del mod">
        <pc:chgData name="Soraya San Rojas" userId="ee699595-9862-4f38-82a0-7140b1d27971" providerId="ADAL" clId="{24C387E1-0483-416D-88B8-0C8D9FE5A487}" dt="2023-04-17T14:50:43.499" v="407" actId="47"/>
        <pc:sldMkLst>
          <pc:docMk/>
          <pc:sldMk cId="163048909" sldId="1554"/>
        </pc:sldMkLst>
        <pc:spChg chg="mod">
          <ac:chgData name="Soraya San Rojas" userId="ee699595-9862-4f38-82a0-7140b1d27971" providerId="ADAL" clId="{24C387E1-0483-416D-88B8-0C8D9FE5A487}" dt="2023-04-14T18:36:48.624" v="242" actId="20577"/>
          <ac:spMkLst>
            <pc:docMk/>
            <pc:sldMk cId="163048909" sldId="1554"/>
            <ac:spMk id="3" creationId="{F44556CF-DB33-4AA0-9A2B-ABF938A7400C}"/>
          </ac:spMkLst>
        </pc:spChg>
        <pc:spChg chg="mod">
          <ac:chgData name="Soraya San Rojas" userId="ee699595-9862-4f38-82a0-7140b1d27971" providerId="ADAL" clId="{24C387E1-0483-416D-88B8-0C8D9FE5A487}" dt="2023-04-17T14:28:28.107" v="388"/>
          <ac:spMkLst>
            <pc:docMk/>
            <pc:sldMk cId="163048909" sldId="1554"/>
            <ac:spMk id="6" creationId="{461A793D-4742-4A67-A46B-D595A50BA95A}"/>
          </ac:spMkLst>
        </pc:spChg>
        <pc:spChg chg="mod">
          <ac:chgData name="Soraya San Rojas" userId="ee699595-9862-4f38-82a0-7140b1d27971" providerId="ADAL" clId="{24C387E1-0483-416D-88B8-0C8D9FE5A487}" dt="2023-04-17T14:29:45.539" v="390"/>
          <ac:spMkLst>
            <pc:docMk/>
            <pc:sldMk cId="163048909" sldId="1554"/>
            <ac:spMk id="7" creationId="{C6A98194-519D-47DB-A3AB-CA19D45B9600}"/>
          </ac:spMkLst>
        </pc:spChg>
      </pc:sldChg>
      <pc:sldChg chg="addSp delSp modSp new mod delAnim modAnim">
        <pc:chgData name="Soraya San Rojas" userId="ee699595-9862-4f38-82a0-7140b1d27971" providerId="ADAL" clId="{24C387E1-0483-416D-88B8-0C8D9FE5A487}" dt="2023-04-19T20:41:58.252" v="4374" actId="113"/>
        <pc:sldMkLst>
          <pc:docMk/>
          <pc:sldMk cId="2300640832" sldId="1554"/>
        </pc:sldMkLst>
        <pc:spChg chg="add del mod">
          <ac:chgData name="Soraya San Rojas" userId="ee699595-9862-4f38-82a0-7140b1d27971" providerId="ADAL" clId="{24C387E1-0483-416D-88B8-0C8D9FE5A487}" dt="2023-04-17T15:17:54.115" v="492" actId="21"/>
          <ac:spMkLst>
            <pc:docMk/>
            <pc:sldMk cId="2300640832" sldId="1554"/>
            <ac:spMk id="2" creationId="{7E48B430-5B1A-472E-A8D8-433EED69B0AB}"/>
          </ac:spMkLst>
        </pc:spChg>
        <pc:spChg chg="mod">
          <ac:chgData name="Soraya San Rojas" userId="ee699595-9862-4f38-82a0-7140b1d27971" providerId="ADAL" clId="{24C387E1-0483-416D-88B8-0C8D9FE5A487}" dt="2023-04-19T20:41:58.252" v="4374" actId="113"/>
          <ac:spMkLst>
            <pc:docMk/>
            <pc:sldMk cId="2300640832" sldId="1554"/>
            <ac:spMk id="3" creationId="{21E06605-E19E-4ED2-A4D6-FCD7358592BD}"/>
          </ac:spMkLst>
        </pc:spChg>
        <pc:spChg chg="del mod">
          <ac:chgData name="Soraya San Rojas" userId="ee699595-9862-4f38-82a0-7140b1d27971" providerId="ADAL" clId="{24C387E1-0483-416D-88B8-0C8D9FE5A487}" dt="2023-04-17T17:00:48.674" v="886" actId="478"/>
          <ac:spMkLst>
            <pc:docMk/>
            <pc:sldMk cId="2300640832" sldId="1554"/>
            <ac:spMk id="4" creationId="{B778C2BC-6E8D-47D8-8102-95FA868954F2}"/>
          </ac:spMkLst>
        </pc:spChg>
        <pc:spChg chg="add del mod">
          <ac:chgData name="Soraya San Rojas" userId="ee699595-9862-4f38-82a0-7140b1d27971" providerId="ADAL" clId="{24C387E1-0483-416D-88B8-0C8D9FE5A487}" dt="2023-04-19T19:14:45.885" v="2119" actId="478"/>
          <ac:spMkLst>
            <pc:docMk/>
            <pc:sldMk cId="2300640832" sldId="1554"/>
            <ac:spMk id="4" creationId="{EE0A3961-E15F-4775-98A0-79CB80AA25F6}"/>
          </ac:spMkLst>
        </pc:spChg>
        <pc:spChg chg="del">
          <ac:chgData name="Soraya San Rojas" userId="ee699595-9862-4f38-82a0-7140b1d27971" providerId="ADAL" clId="{24C387E1-0483-416D-88B8-0C8D9FE5A487}" dt="2023-04-17T15:22:35.440" v="601" actId="478"/>
          <ac:spMkLst>
            <pc:docMk/>
            <pc:sldMk cId="2300640832" sldId="1554"/>
            <ac:spMk id="6" creationId="{43E351BD-9BC3-4980-A45C-0C6B5D42739C}"/>
          </ac:spMkLst>
        </pc:spChg>
        <pc:spChg chg="del">
          <ac:chgData name="Soraya San Rojas" userId="ee699595-9862-4f38-82a0-7140b1d27971" providerId="ADAL" clId="{24C387E1-0483-416D-88B8-0C8D9FE5A487}" dt="2023-04-17T15:22:31.594" v="600" actId="478"/>
          <ac:spMkLst>
            <pc:docMk/>
            <pc:sldMk cId="2300640832" sldId="1554"/>
            <ac:spMk id="7" creationId="{256585B1-638B-4D4C-A0E6-0DE619E45080}"/>
          </ac:spMkLst>
        </pc:spChg>
        <pc:spChg chg="add mod">
          <ac:chgData name="Soraya San Rojas" userId="ee699595-9862-4f38-82a0-7140b1d27971" providerId="ADAL" clId="{24C387E1-0483-416D-88B8-0C8D9FE5A487}" dt="2023-04-19T19:15:03.403" v="2125" actId="1076"/>
          <ac:spMkLst>
            <pc:docMk/>
            <pc:sldMk cId="2300640832" sldId="1554"/>
            <ac:spMk id="7" creationId="{6EEBFCC7-C6E8-4D18-AC39-C8756E747CBA}"/>
          </ac:spMkLst>
        </pc:spChg>
        <pc:spChg chg="del">
          <ac:chgData name="Soraya San Rojas" userId="ee699595-9862-4f38-82a0-7140b1d27971" providerId="ADAL" clId="{24C387E1-0483-416D-88B8-0C8D9FE5A487}" dt="2023-04-17T15:22:28.219" v="598" actId="478"/>
          <ac:spMkLst>
            <pc:docMk/>
            <pc:sldMk cId="2300640832" sldId="1554"/>
            <ac:spMk id="8" creationId="{7DAEF1EF-AA8A-4D17-B024-23CDB09FB492}"/>
          </ac:spMkLst>
        </pc:spChg>
        <pc:spChg chg="del">
          <ac:chgData name="Soraya San Rojas" userId="ee699595-9862-4f38-82a0-7140b1d27971" providerId="ADAL" clId="{24C387E1-0483-416D-88B8-0C8D9FE5A487}" dt="2023-04-17T15:22:29.538" v="599" actId="478"/>
          <ac:spMkLst>
            <pc:docMk/>
            <pc:sldMk cId="2300640832" sldId="1554"/>
            <ac:spMk id="9" creationId="{ACAD8DEA-627C-4742-97F5-8EE1B6868E48}"/>
          </ac:spMkLst>
        </pc:spChg>
        <pc:spChg chg="add del mod">
          <ac:chgData name="Soraya San Rojas" userId="ee699595-9862-4f38-82a0-7140b1d27971" providerId="ADAL" clId="{24C387E1-0483-416D-88B8-0C8D9FE5A487}" dt="2023-04-17T15:18:00.453" v="500" actId="21"/>
          <ac:spMkLst>
            <pc:docMk/>
            <pc:sldMk cId="2300640832" sldId="1554"/>
            <ac:spMk id="11" creationId="{2C49F384-91CB-4415-9655-12FB9D87561E}"/>
          </ac:spMkLst>
        </pc:spChg>
        <pc:spChg chg="add del mod">
          <ac:chgData name="Soraya San Rojas" userId="ee699595-9862-4f38-82a0-7140b1d27971" providerId="ADAL" clId="{24C387E1-0483-416D-88B8-0C8D9FE5A487}" dt="2023-04-19T19:14:42.932" v="2118" actId="478"/>
          <ac:spMkLst>
            <pc:docMk/>
            <pc:sldMk cId="2300640832" sldId="1554"/>
            <ac:spMk id="13" creationId="{F987FC09-DD60-4C41-B33A-2819BE9E3E3A}"/>
          </ac:spMkLst>
        </pc:spChg>
        <pc:spChg chg="add del mod">
          <ac:chgData name="Soraya San Rojas" userId="ee699595-9862-4f38-82a0-7140b1d27971" providerId="ADAL" clId="{24C387E1-0483-416D-88B8-0C8D9FE5A487}" dt="2023-04-17T15:18:10.469" v="512" actId="21"/>
          <ac:spMkLst>
            <pc:docMk/>
            <pc:sldMk cId="2300640832" sldId="1554"/>
            <ac:spMk id="14" creationId="{3A3AF3A5-3C82-4AF9-9230-8ECB390F1787}"/>
          </ac:spMkLst>
        </pc:spChg>
        <pc:spChg chg="add mod">
          <ac:chgData name="Soraya San Rojas" userId="ee699595-9862-4f38-82a0-7140b1d27971" providerId="ADAL" clId="{24C387E1-0483-416D-88B8-0C8D9FE5A487}" dt="2023-04-19T19:16:46.492" v="2155" actId="114"/>
          <ac:spMkLst>
            <pc:docMk/>
            <pc:sldMk cId="2300640832" sldId="1554"/>
            <ac:spMk id="15" creationId="{E73E5A9B-1B7B-494C-AE18-EB34CD4D7DCA}"/>
          </ac:spMkLst>
        </pc:spChg>
        <pc:picChg chg="add del mod">
          <ac:chgData name="Soraya San Rojas" userId="ee699595-9862-4f38-82a0-7140b1d27971" providerId="ADAL" clId="{24C387E1-0483-416D-88B8-0C8D9FE5A487}" dt="2023-04-17T17:02:17.260" v="910" actId="478"/>
          <ac:picMkLst>
            <pc:docMk/>
            <pc:sldMk cId="2300640832" sldId="1554"/>
            <ac:picMk id="16" creationId="{2B70C252-8210-4B2E-8026-75AAE54C9648}"/>
          </ac:picMkLst>
        </pc:picChg>
        <pc:picChg chg="add del mod ord">
          <ac:chgData name="Soraya San Rojas" userId="ee699595-9862-4f38-82a0-7140b1d27971" providerId="ADAL" clId="{24C387E1-0483-416D-88B8-0C8D9FE5A487}" dt="2023-04-17T17:01:32.380" v="897" actId="478"/>
          <ac:picMkLst>
            <pc:docMk/>
            <pc:sldMk cId="2300640832" sldId="1554"/>
            <ac:picMk id="17" creationId="{8AA6FB64-29B8-4128-8579-AC284D60E39A}"/>
          </ac:picMkLst>
        </pc:picChg>
        <pc:picChg chg="add mod">
          <ac:chgData name="Soraya San Rojas" userId="ee699595-9862-4f38-82a0-7140b1d27971" providerId="ADAL" clId="{24C387E1-0483-416D-88B8-0C8D9FE5A487}" dt="2023-04-17T17:02:30.331" v="913" actId="1076"/>
          <ac:picMkLst>
            <pc:docMk/>
            <pc:sldMk cId="2300640832" sldId="1554"/>
            <ac:picMk id="18" creationId="{07129FCF-8907-4CDB-BEAB-DCB24B5CE1A4}"/>
          </ac:picMkLst>
        </pc:picChg>
      </pc:sldChg>
      <pc:sldChg chg="addSp delSp modSp new del mod modClrScheme chgLayout">
        <pc:chgData name="Soraya San Rojas" userId="ee699595-9862-4f38-82a0-7140b1d27971" providerId="ADAL" clId="{24C387E1-0483-416D-88B8-0C8D9FE5A487}" dt="2023-04-17T17:30:37.915" v="977" actId="2696"/>
        <pc:sldMkLst>
          <pc:docMk/>
          <pc:sldMk cId="319963807" sldId="1555"/>
        </pc:sldMkLst>
        <pc:spChg chg="del">
          <ac:chgData name="Soraya San Rojas" userId="ee699595-9862-4f38-82a0-7140b1d27971" providerId="ADAL" clId="{24C387E1-0483-416D-88B8-0C8D9FE5A487}" dt="2023-04-17T17:24:43.357" v="947" actId="700"/>
          <ac:spMkLst>
            <pc:docMk/>
            <pc:sldMk cId="319963807" sldId="1555"/>
            <ac:spMk id="2" creationId="{7C9CBA9B-CF88-46CF-BD68-CAD3B92B6317}"/>
          </ac:spMkLst>
        </pc:spChg>
        <pc:spChg chg="del mod ord">
          <ac:chgData name="Soraya San Rojas" userId="ee699595-9862-4f38-82a0-7140b1d27971" providerId="ADAL" clId="{24C387E1-0483-416D-88B8-0C8D9FE5A487}" dt="2023-04-17T17:24:43.357" v="947" actId="700"/>
          <ac:spMkLst>
            <pc:docMk/>
            <pc:sldMk cId="319963807" sldId="1555"/>
            <ac:spMk id="3" creationId="{09DF9154-9883-4CFF-9844-705F14FB5E1E}"/>
          </ac:spMkLst>
        </pc:spChg>
        <pc:spChg chg="del mod ord">
          <ac:chgData name="Soraya San Rojas" userId="ee699595-9862-4f38-82a0-7140b1d27971" providerId="ADAL" clId="{24C387E1-0483-416D-88B8-0C8D9FE5A487}" dt="2023-04-17T17:25:27.753" v="955" actId="478"/>
          <ac:spMkLst>
            <pc:docMk/>
            <pc:sldMk cId="319963807" sldId="1555"/>
            <ac:spMk id="4" creationId="{EA13A590-853C-4DD7-A155-A13BF2E95573}"/>
          </ac:spMkLst>
        </pc:spChg>
        <pc:spChg chg="mod ord">
          <ac:chgData name="Soraya San Rojas" userId="ee699595-9862-4f38-82a0-7140b1d27971" providerId="ADAL" clId="{24C387E1-0483-416D-88B8-0C8D9FE5A487}" dt="2023-04-17T17:24:43.357" v="947" actId="700"/>
          <ac:spMkLst>
            <pc:docMk/>
            <pc:sldMk cId="319963807" sldId="1555"/>
            <ac:spMk id="5" creationId="{93BBB6F7-8DA3-4FD0-A52E-126E0D277F34}"/>
          </ac:spMkLst>
        </pc:spChg>
        <pc:spChg chg="del mod ord">
          <ac:chgData name="Soraya San Rojas" userId="ee699595-9862-4f38-82a0-7140b1d27971" providerId="ADAL" clId="{24C387E1-0483-416D-88B8-0C8D9FE5A487}" dt="2023-04-17T17:24:43.357" v="947" actId="700"/>
          <ac:spMkLst>
            <pc:docMk/>
            <pc:sldMk cId="319963807" sldId="1555"/>
            <ac:spMk id="6" creationId="{9A074812-C55C-42A5-98B7-907E1CA38F44}"/>
          </ac:spMkLst>
        </pc:spChg>
        <pc:spChg chg="del">
          <ac:chgData name="Soraya San Rojas" userId="ee699595-9862-4f38-82a0-7140b1d27971" providerId="ADAL" clId="{24C387E1-0483-416D-88B8-0C8D9FE5A487}" dt="2023-04-17T17:24:35.257" v="944" actId="478"/>
          <ac:spMkLst>
            <pc:docMk/>
            <pc:sldMk cId="319963807" sldId="1555"/>
            <ac:spMk id="7" creationId="{438B1028-BCE6-48EC-A70E-60140ECFD87F}"/>
          </ac:spMkLst>
        </pc:spChg>
        <pc:spChg chg="del">
          <ac:chgData name="Soraya San Rojas" userId="ee699595-9862-4f38-82a0-7140b1d27971" providerId="ADAL" clId="{24C387E1-0483-416D-88B8-0C8D9FE5A487}" dt="2023-04-17T17:24:36.759" v="945" actId="478"/>
          <ac:spMkLst>
            <pc:docMk/>
            <pc:sldMk cId="319963807" sldId="1555"/>
            <ac:spMk id="8" creationId="{22D3B549-E3B3-4289-9E28-BE676197025F}"/>
          </ac:spMkLst>
        </pc:spChg>
        <pc:spChg chg="del">
          <ac:chgData name="Soraya San Rojas" userId="ee699595-9862-4f38-82a0-7140b1d27971" providerId="ADAL" clId="{24C387E1-0483-416D-88B8-0C8D9FE5A487}" dt="2023-04-17T17:24:33.189" v="943" actId="478"/>
          <ac:spMkLst>
            <pc:docMk/>
            <pc:sldMk cId="319963807" sldId="1555"/>
            <ac:spMk id="9" creationId="{246A88F0-52B7-40A1-88D5-04C14CB3B654}"/>
          </ac:spMkLst>
        </pc:spChg>
        <pc:spChg chg="add del mod ord">
          <ac:chgData name="Soraya San Rojas" userId="ee699595-9862-4f38-82a0-7140b1d27971" providerId="ADAL" clId="{24C387E1-0483-416D-88B8-0C8D9FE5A487}" dt="2023-04-17T17:25:24.219" v="954" actId="478"/>
          <ac:spMkLst>
            <pc:docMk/>
            <pc:sldMk cId="319963807" sldId="1555"/>
            <ac:spMk id="10" creationId="{0310D521-CC89-49A3-93C0-51B91D051852}"/>
          </ac:spMkLst>
        </pc:spChg>
        <pc:spChg chg="add mod ord">
          <ac:chgData name="Soraya San Rojas" userId="ee699595-9862-4f38-82a0-7140b1d27971" providerId="ADAL" clId="{24C387E1-0483-416D-88B8-0C8D9FE5A487}" dt="2023-04-17T17:30:30.158" v="976" actId="20577"/>
          <ac:spMkLst>
            <pc:docMk/>
            <pc:sldMk cId="319963807" sldId="1555"/>
            <ac:spMk id="11" creationId="{9A7ADD74-A310-4F6C-9E48-319228BFC271}"/>
          </ac:spMkLst>
        </pc:spChg>
        <pc:picChg chg="add mod">
          <ac:chgData name="Soraya San Rojas" userId="ee699595-9862-4f38-82a0-7140b1d27971" providerId="ADAL" clId="{24C387E1-0483-416D-88B8-0C8D9FE5A487}" dt="2023-04-17T17:25:54.048" v="961"/>
          <ac:picMkLst>
            <pc:docMk/>
            <pc:sldMk cId="319963807" sldId="1555"/>
            <ac:picMk id="12" creationId="{84DD2306-737E-42AD-A155-E6016A10D631}"/>
          </ac:picMkLst>
        </pc:picChg>
        <pc:picChg chg="add mod">
          <ac:chgData name="Soraya San Rojas" userId="ee699595-9862-4f38-82a0-7140b1d27971" providerId="ADAL" clId="{24C387E1-0483-416D-88B8-0C8D9FE5A487}" dt="2023-04-17T17:26:11.510" v="962"/>
          <ac:picMkLst>
            <pc:docMk/>
            <pc:sldMk cId="319963807" sldId="1555"/>
            <ac:picMk id="13" creationId="{867E032C-DE8A-4140-AF0E-B48936890EE1}"/>
          </ac:picMkLst>
        </pc:picChg>
        <pc:picChg chg="add del mod">
          <ac:chgData name="Soraya San Rojas" userId="ee699595-9862-4f38-82a0-7140b1d27971" providerId="ADAL" clId="{24C387E1-0483-416D-88B8-0C8D9FE5A487}" dt="2023-04-17T17:30:20.966" v="966" actId="478"/>
          <ac:picMkLst>
            <pc:docMk/>
            <pc:sldMk cId="319963807" sldId="1555"/>
            <ac:picMk id="15" creationId="{F170A00C-98A2-47DF-A7BA-E9DF3F5912A7}"/>
          </ac:picMkLst>
        </pc:picChg>
      </pc:sldChg>
      <pc:sldChg chg="addSp delSp modSp new mod">
        <pc:chgData name="Soraya San Rojas" userId="ee699595-9862-4f38-82a0-7140b1d27971" providerId="ADAL" clId="{24C387E1-0483-416D-88B8-0C8D9FE5A487}" dt="2023-04-19T20:42:02.728" v="4375" actId="113"/>
        <pc:sldMkLst>
          <pc:docMk/>
          <pc:sldMk cId="2902930919" sldId="1555"/>
        </pc:sldMkLst>
        <pc:spChg chg="del mod">
          <ac:chgData name="Soraya San Rojas" userId="ee699595-9862-4f38-82a0-7140b1d27971" providerId="ADAL" clId="{24C387E1-0483-416D-88B8-0C8D9FE5A487}" dt="2023-04-19T19:15:18.006" v="2126" actId="478"/>
          <ac:spMkLst>
            <pc:docMk/>
            <pc:sldMk cId="2902930919" sldId="1555"/>
            <ac:spMk id="2" creationId="{165D1131-11DD-4AC3-AB81-B0313914A718}"/>
          </ac:spMkLst>
        </pc:spChg>
        <pc:spChg chg="mod">
          <ac:chgData name="Soraya San Rojas" userId="ee699595-9862-4f38-82a0-7140b1d27971" providerId="ADAL" clId="{24C387E1-0483-416D-88B8-0C8D9FE5A487}" dt="2023-04-19T20:42:02.728" v="4375" actId="113"/>
          <ac:spMkLst>
            <pc:docMk/>
            <pc:sldMk cId="2902930919" sldId="1555"/>
            <ac:spMk id="3" creationId="{1E0EB02B-AF90-482D-8EC4-25A676231812}"/>
          </ac:spMkLst>
        </pc:spChg>
        <pc:spChg chg="del">
          <ac:chgData name="Soraya San Rojas" userId="ee699595-9862-4f38-82a0-7140b1d27971" providerId="ADAL" clId="{24C387E1-0483-416D-88B8-0C8D9FE5A487}" dt="2023-04-19T14:00:15.430" v="985" actId="478"/>
          <ac:spMkLst>
            <pc:docMk/>
            <pc:sldMk cId="2902930919" sldId="1555"/>
            <ac:spMk id="4" creationId="{87659C8B-9B06-465A-970B-61AEC2CDB2EF}"/>
          </ac:spMkLst>
        </pc:spChg>
        <pc:spChg chg="mod">
          <ac:chgData name="Soraya San Rojas" userId="ee699595-9862-4f38-82a0-7140b1d27971" providerId="ADAL" clId="{24C387E1-0483-416D-88B8-0C8D9FE5A487}" dt="2023-04-19T19:16:39.895" v="2154" actId="114"/>
          <ac:spMkLst>
            <pc:docMk/>
            <pc:sldMk cId="2902930919" sldId="1555"/>
            <ac:spMk id="6" creationId="{98003586-7629-47B8-94A7-03308A06B94F}"/>
          </ac:spMkLst>
        </pc:spChg>
        <pc:spChg chg="del">
          <ac:chgData name="Soraya San Rojas" userId="ee699595-9862-4f38-82a0-7140b1d27971" providerId="ADAL" clId="{24C387E1-0483-416D-88B8-0C8D9FE5A487}" dt="2023-04-19T14:00:12.853" v="984" actId="478"/>
          <ac:spMkLst>
            <pc:docMk/>
            <pc:sldMk cId="2902930919" sldId="1555"/>
            <ac:spMk id="7" creationId="{A72DD5EF-9A3B-44A3-9A1F-8514DBE3D701}"/>
          </ac:spMkLst>
        </pc:spChg>
        <pc:spChg chg="add del mod">
          <ac:chgData name="Soraya San Rojas" userId="ee699595-9862-4f38-82a0-7140b1d27971" providerId="ADAL" clId="{24C387E1-0483-416D-88B8-0C8D9FE5A487}" dt="2023-04-19T19:15:23.047" v="2127" actId="478"/>
          <ac:spMkLst>
            <pc:docMk/>
            <pc:sldMk cId="2902930919" sldId="1555"/>
            <ac:spMk id="7" creationId="{D84120AF-52BF-4731-96B6-9BF4E0F8B9E6}"/>
          </ac:spMkLst>
        </pc:spChg>
        <pc:spChg chg="del">
          <ac:chgData name="Soraya San Rojas" userId="ee699595-9862-4f38-82a0-7140b1d27971" providerId="ADAL" clId="{24C387E1-0483-416D-88B8-0C8D9FE5A487}" dt="2023-04-19T14:00:10.378" v="983" actId="478"/>
          <ac:spMkLst>
            <pc:docMk/>
            <pc:sldMk cId="2902930919" sldId="1555"/>
            <ac:spMk id="8" creationId="{99C66312-C225-409B-87B7-F9556F1D2457}"/>
          </ac:spMkLst>
        </pc:spChg>
        <pc:spChg chg="del">
          <ac:chgData name="Soraya San Rojas" userId="ee699595-9862-4f38-82a0-7140b1d27971" providerId="ADAL" clId="{24C387E1-0483-416D-88B8-0C8D9FE5A487}" dt="2023-04-19T14:00:09.247" v="982" actId="478"/>
          <ac:spMkLst>
            <pc:docMk/>
            <pc:sldMk cId="2902930919" sldId="1555"/>
            <ac:spMk id="9" creationId="{61189B76-1DB3-48C0-AEFC-882E6C860540}"/>
          </ac:spMkLst>
        </pc:spChg>
        <pc:spChg chg="add mod">
          <ac:chgData name="Soraya San Rojas" userId="ee699595-9862-4f38-82a0-7140b1d27971" providerId="ADAL" clId="{24C387E1-0483-416D-88B8-0C8D9FE5A487}" dt="2023-04-19T19:15:54.387" v="2153" actId="14100"/>
          <ac:spMkLst>
            <pc:docMk/>
            <pc:sldMk cId="2902930919" sldId="1555"/>
            <ac:spMk id="9" creationId="{C5C8E55C-56FA-49B6-857A-EA66066C1AE2}"/>
          </ac:spMkLst>
        </pc:spChg>
        <pc:picChg chg="add mod">
          <ac:chgData name="Soraya San Rojas" userId="ee699595-9862-4f38-82a0-7140b1d27971" providerId="ADAL" clId="{24C387E1-0483-416D-88B8-0C8D9FE5A487}" dt="2023-04-19T14:04:33.456" v="1137"/>
          <ac:picMkLst>
            <pc:docMk/>
            <pc:sldMk cId="2902930919" sldId="1555"/>
            <ac:picMk id="10" creationId="{848B0599-217E-4CAD-B5B5-575A7E95C317}"/>
          </ac:picMkLst>
        </pc:picChg>
      </pc:sldChg>
      <pc:sldChg chg="new del">
        <pc:chgData name="Soraya San Rojas" userId="ee699595-9862-4f38-82a0-7140b1d27971" providerId="ADAL" clId="{24C387E1-0483-416D-88B8-0C8D9FE5A487}" dt="2023-04-17T16:55:21.897" v="851" actId="47"/>
        <pc:sldMkLst>
          <pc:docMk/>
          <pc:sldMk cId="3616806845" sldId="1555"/>
        </pc:sldMkLst>
      </pc:sldChg>
      <pc:sldChg chg="delSp new del mod">
        <pc:chgData name="Soraya San Rojas" userId="ee699595-9862-4f38-82a0-7140b1d27971" providerId="ADAL" clId="{24C387E1-0483-416D-88B8-0C8D9FE5A487}" dt="2023-04-19T14:03:05.455" v="1079" actId="2696"/>
        <pc:sldMkLst>
          <pc:docMk/>
          <pc:sldMk cId="1545311580" sldId="1556"/>
        </pc:sldMkLst>
        <pc:spChg chg="del">
          <ac:chgData name="Soraya San Rojas" userId="ee699595-9862-4f38-82a0-7140b1d27971" providerId="ADAL" clId="{24C387E1-0483-416D-88B8-0C8D9FE5A487}" dt="2023-04-19T14:02:59.985" v="1078" actId="478"/>
          <ac:spMkLst>
            <pc:docMk/>
            <pc:sldMk cId="1545311580" sldId="1556"/>
            <ac:spMk id="8" creationId="{39B1BD4A-B1E8-4622-BD97-7959011AB911}"/>
          </ac:spMkLst>
        </pc:spChg>
        <pc:spChg chg="del">
          <ac:chgData name="Soraya San Rojas" userId="ee699595-9862-4f38-82a0-7140b1d27971" providerId="ADAL" clId="{24C387E1-0483-416D-88B8-0C8D9FE5A487}" dt="2023-04-19T14:02:59.261" v="1077" actId="478"/>
          <ac:spMkLst>
            <pc:docMk/>
            <pc:sldMk cId="1545311580" sldId="1556"/>
            <ac:spMk id="9" creationId="{19F0AEC7-CD5F-471D-A118-6E61CC890BB4}"/>
          </ac:spMkLst>
        </pc:spChg>
      </pc:sldChg>
      <pc:sldChg chg="modSp new del mod">
        <pc:chgData name="Soraya San Rojas" userId="ee699595-9862-4f38-82a0-7140b1d27971" providerId="ADAL" clId="{24C387E1-0483-416D-88B8-0C8D9FE5A487}" dt="2023-04-19T16:09:41.351" v="1498" actId="47"/>
        <pc:sldMkLst>
          <pc:docMk/>
          <pc:sldMk cId="2079841524" sldId="1556"/>
        </pc:sldMkLst>
        <pc:spChg chg="mod">
          <ac:chgData name="Soraya San Rojas" userId="ee699595-9862-4f38-82a0-7140b1d27971" providerId="ADAL" clId="{24C387E1-0483-416D-88B8-0C8D9FE5A487}" dt="2023-04-19T14:04:08.236" v="1127" actId="20577"/>
          <ac:spMkLst>
            <pc:docMk/>
            <pc:sldMk cId="2079841524" sldId="1556"/>
            <ac:spMk id="2" creationId="{BBF51EC3-A025-4E32-877C-CEED4874DB10}"/>
          </ac:spMkLst>
        </pc:spChg>
        <pc:spChg chg="mod">
          <ac:chgData name="Soraya San Rojas" userId="ee699595-9862-4f38-82a0-7140b1d27971" providerId="ADAL" clId="{24C387E1-0483-416D-88B8-0C8D9FE5A487}" dt="2023-04-19T14:03:54.955" v="1124" actId="20577"/>
          <ac:spMkLst>
            <pc:docMk/>
            <pc:sldMk cId="2079841524" sldId="1556"/>
            <ac:spMk id="3" creationId="{286CABB6-EF5E-4AB4-946B-18249D79618F}"/>
          </ac:spMkLst>
        </pc:spChg>
      </pc:sldChg>
      <pc:sldChg chg="addSp delSp modSp new del mod">
        <pc:chgData name="Soraya San Rojas" userId="ee699595-9862-4f38-82a0-7140b1d27971" providerId="ADAL" clId="{24C387E1-0483-416D-88B8-0C8D9FE5A487}" dt="2023-04-19T20:44:50.480" v="4378" actId="47"/>
        <pc:sldMkLst>
          <pc:docMk/>
          <pc:sldMk cId="209541556" sldId="1557"/>
        </pc:sldMkLst>
        <pc:spChg chg="del">
          <ac:chgData name="Soraya San Rojas" userId="ee699595-9862-4f38-82a0-7140b1d27971" providerId="ADAL" clId="{24C387E1-0483-416D-88B8-0C8D9FE5A487}" dt="2023-04-19T14:04:48.347" v="1142" actId="478"/>
          <ac:spMkLst>
            <pc:docMk/>
            <pc:sldMk cId="209541556" sldId="1557"/>
            <ac:spMk id="2" creationId="{D6C0D158-E90D-4014-9315-3B11B84A0F0B}"/>
          </ac:spMkLst>
        </pc:spChg>
        <pc:spChg chg="del">
          <ac:chgData name="Soraya San Rojas" userId="ee699595-9862-4f38-82a0-7140b1d27971" providerId="ADAL" clId="{24C387E1-0483-416D-88B8-0C8D9FE5A487}" dt="2023-04-19T14:04:50.715" v="1143" actId="478"/>
          <ac:spMkLst>
            <pc:docMk/>
            <pc:sldMk cId="209541556" sldId="1557"/>
            <ac:spMk id="3" creationId="{C7FA5369-0E12-4AF1-BF18-E989BF354A54}"/>
          </ac:spMkLst>
        </pc:spChg>
        <pc:spChg chg="del">
          <ac:chgData name="Soraya San Rojas" userId="ee699595-9862-4f38-82a0-7140b1d27971" providerId="ADAL" clId="{24C387E1-0483-416D-88B8-0C8D9FE5A487}" dt="2023-04-19T14:04:57.300" v="1146" actId="478"/>
          <ac:spMkLst>
            <pc:docMk/>
            <pc:sldMk cId="209541556" sldId="1557"/>
            <ac:spMk id="4" creationId="{F5AC9F32-1BCA-4983-A70D-75E649AD1227}"/>
          </ac:spMkLst>
        </pc:spChg>
        <pc:spChg chg="del mod">
          <ac:chgData name="Soraya San Rojas" userId="ee699595-9862-4f38-82a0-7140b1d27971" providerId="ADAL" clId="{24C387E1-0483-416D-88B8-0C8D9FE5A487}" dt="2023-04-19T14:04:55.098" v="1145" actId="478"/>
          <ac:spMkLst>
            <pc:docMk/>
            <pc:sldMk cId="209541556" sldId="1557"/>
            <ac:spMk id="6" creationId="{7ABB1D57-9BF1-4321-A9D1-89ADF1F01737}"/>
          </ac:spMkLst>
        </pc:spChg>
        <pc:spChg chg="del">
          <ac:chgData name="Soraya San Rojas" userId="ee699595-9862-4f38-82a0-7140b1d27971" providerId="ADAL" clId="{24C387E1-0483-416D-88B8-0C8D9FE5A487}" dt="2023-04-19T14:04:47.555" v="1141" actId="478"/>
          <ac:spMkLst>
            <pc:docMk/>
            <pc:sldMk cId="209541556" sldId="1557"/>
            <ac:spMk id="7" creationId="{851D98F0-FDFB-45CC-AB91-29608BD123CA}"/>
          </ac:spMkLst>
        </pc:spChg>
        <pc:spChg chg="del">
          <ac:chgData name="Soraya San Rojas" userId="ee699595-9862-4f38-82a0-7140b1d27971" providerId="ADAL" clId="{24C387E1-0483-416D-88B8-0C8D9FE5A487}" dt="2023-04-19T14:04:46.101" v="1139" actId="478"/>
          <ac:spMkLst>
            <pc:docMk/>
            <pc:sldMk cId="209541556" sldId="1557"/>
            <ac:spMk id="8" creationId="{75B6B3B7-1792-4ED3-9B2E-968BF79BDD00}"/>
          </ac:spMkLst>
        </pc:spChg>
        <pc:spChg chg="del">
          <ac:chgData name="Soraya San Rojas" userId="ee699595-9862-4f38-82a0-7140b1d27971" providerId="ADAL" clId="{24C387E1-0483-416D-88B8-0C8D9FE5A487}" dt="2023-04-19T14:04:46.710" v="1140" actId="478"/>
          <ac:spMkLst>
            <pc:docMk/>
            <pc:sldMk cId="209541556" sldId="1557"/>
            <ac:spMk id="9" creationId="{6F54B359-CEA2-422B-9749-4C38C496AD86}"/>
          </ac:spMkLst>
        </pc:spChg>
        <pc:graphicFrameChg chg="del mod">
          <ac:chgData name="Soraya San Rojas" userId="ee699595-9862-4f38-82a0-7140b1d27971" providerId="ADAL" clId="{24C387E1-0483-416D-88B8-0C8D9FE5A487}" dt="2023-04-19T15:31:41.785" v="1235" actId="478"/>
          <ac:graphicFrameMkLst>
            <pc:docMk/>
            <pc:sldMk cId="209541556" sldId="1557"/>
            <ac:graphicFrameMk id="10" creationId="{2B5B8BC5-B84E-4EDC-B3C3-FC777FB8BDA5}"/>
          </ac:graphicFrameMkLst>
        </pc:graphicFrameChg>
        <pc:graphicFrameChg chg="add del mod">
          <ac:chgData name="Soraya San Rojas" userId="ee699595-9862-4f38-82a0-7140b1d27971" providerId="ADAL" clId="{24C387E1-0483-416D-88B8-0C8D9FE5A487}" dt="2023-04-19T15:31:45.594" v="1237"/>
          <ac:graphicFrameMkLst>
            <pc:docMk/>
            <pc:sldMk cId="209541556" sldId="1557"/>
            <ac:graphicFrameMk id="12" creationId="{BF26192A-A0E4-40EB-9048-34C8513ADC41}"/>
          </ac:graphicFrameMkLst>
        </pc:graphicFrameChg>
        <pc:graphicFrameChg chg="del mod">
          <ac:chgData name="Soraya San Rojas" userId="ee699595-9862-4f38-82a0-7140b1d27971" providerId="ADAL" clId="{24C387E1-0483-416D-88B8-0C8D9FE5A487}" dt="2023-04-19T15:52:34.457" v="1293" actId="478"/>
          <ac:graphicFrameMkLst>
            <pc:docMk/>
            <pc:sldMk cId="209541556" sldId="1557"/>
            <ac:graphicFrameMk id="13" creationId="{E331272F-12B2-4B47-8118-BF16AE77E1E0}"/>
          </ac:graphicFrameMkLst>
        </pc:graphicFrameChg>
        <pc:graphicFrameChg chg="mod">
          <ac:chgData name="Soraya San Rojas" userId="ee699595-9862-4f38-82a0-7140b1d27971" providerId="ADAL" clId="{24C387E1-0483-416D-88B8-0C8D9FE5A487}" dt="2023-04-19T20:17:43.713" v="3834"/>
          <ac:graphicFrameMkLst>
            <pc:docMk/>
            <pc:sldMk cId="209541556" sldId="1557"/>
            <ac:graphicFrameMk id="14" creationId="{6F5CFF68-CA8B-4BF7-96A2-65EC9C3901C2}"/>
          </ac:graphicFrameMkLst>
        </pc:graphicFrameChg>
        <pc:picChg chg="add mod">
          <ac:chgData name="Soraya San Rojas" userId="ee699595-9862-4f38-82a0-7140b1d27971" providerId="ADAL" clId="{24C387E1-0483-416D-88B8-0C8D9FE5A487}" dt="2023-04-19T14:05:45.489" v="1155"/>
          <ac:picMkLst>
            <pc:docMk/>
            <pc:sldMk cId="209541556" sldId="1557"/>
            <ac:picMk id="11" creationId="{81AA6586-663D-46DE-A4E3-DBC6B26BBEE4}"/>
          </ac:picMkLst>
        </pc:picChg>
      </pc:sldChg>
      <pc:sldChg chg="addSp delSp modSp new del mod">
        <pc:chgData name="Soraya San Rojas" userId="ee699595-9862-4f38-82a0-7140b1d27971" providerId="ADAL" clId="{24C387E1-0483-416D-88B8-0C8D9FE5A487}" dt="2023-04-19T19:09:54.968" v="1968" actId="47"/>
        <pc:sldMkLst>
          <pc:docMk/>
          <pc:sldMk cId="1801654410" sldId="1558"/>
        </pc:sldMkLst>
        <pc:spChg chg="del">
          <ac:chgData name="Soraya San Rojas" userId="ee699595-9862-4f38-82a0-7140b1d27971" providerId="ADAL" clId="{24C387E1-0483-416D-88B8-0C8D9FE5A487}" dt="2023-04-19T16:00:37.643" v="1317" actId="478"/>
          <ac:spMkLst>
            <pc:docMk/>
            <pc:sldMk cId="1801654410" sldId="1558"/>
            <ac:spMk id="2" creationId="{E118D2A6-E91A-4B4A-BF86-31C366B4D109}"/>
          </ac:spMkLst>
        </pc:spChg>
        <pc:spChg chg="mod">
          <ac:chgData name="Soraya San Rojas" userId="ee699595-9862-4f38-82a0-7140b1d27971" providerId="ADAL" clId="{24C387E1-0483-416D-88B8-0C8D9FE5A487}" dt="2023-04-19T16:09:23.886" v="1495" actId="1076"/>
          <ac:spMkLst>
            <pc:docMk/>
            <pc:sldMk cId="1801654410" sldId="1558"/>
            <ac:spMk id="3" creationId="{18C4EC06-8ED8-4D73-8EDA-4FD22B65E019}"/>
          </ac:spMkLst>
        </pc:spChg>
        <pc:spChg chg="del">
          <ac:chgData name="Soraya San Rojas" userId="ee699595-9862-4f38-82a0-7140b1d27971" providerId="ADAL" clId="{24C387E1-0483-416D-88B8-0C8D9FE5A487}" dt="2023-04-19T16:00:45.499" v="1320" actId="478"/>
          <ac:spMkLst>
            <pc:docMk/>
            <pc:sldMk cId="1801654410" sldId="1558"/>
            <ac:spMk id="4" creationId="{7445F083-10DE-4296-BA23-ADE023D8D201}"/>
          </ac:spMkLst>
        </pc:spChg>
        <pc:spChg chg="mod">
          <ac:chgData name="Soraya San Rojas" userId="ee699595-9862-4f38-82a0-7140b1d27971" providerId="ADAL" clId="{24C387E1-0483-416D-88B8-0C8D9FE5A487}" dt="2023-04-19T19:05:12.422" v="1900" actId="5793"/>
          <ac:spMkLst>
            <pc:docMk/>
            <pc:sldMk cId="1801654410" sldId="1558"/>
            <ac:spMk id="6" creationId="{2DA3A2D0-0EB2-4A3A-9A8A-C5E0C4FDE00C}"/>
          </ac:spMkLst>
        </pc:spChg>
        <pc:spChg chg="mod">
          <ac:chgData name="Soraya San Rojas" userId="ee699595-9862-4f38-82a0-7140b1d27971" providerId="ADAL" clId="{24C387E1-0483-416D-88B8-0C8D9FE5A487}" dt="2023-04-19T19:05:14.218" v="1901" actId="20577"/>
          <ac:spMkLst>
            <pc:docMk/>
            <pc:sldMk cId="1801654410" sldId="1558"/>
            <ac:spMk id="7" creationId="{5A105D30-413F-4166-B0C8-2CE4C5542C7A}"/>
          </ac:spMkLst>
        </pc:spChg>
        <pc:spChg chg="del">
          <ac:chgData name="Soraya San Rojas" userId="ee699595-9862-4f38-82a0-7140b1d27971" providerId="ADAL" clId="{24C387E1-0483-416D-88B8-0C8D9FE5A487}" dt="2023-04-19T16:00:39.656" v="1318" actId="478"/>
          <ac:spMkLst>
            <pc:docMk/>
            <pc:sldMk cId="1801654410" sldId="1558"/>
            <ac:spMk id="8" creationId="{2E8CC31E-74B4-4970-978C-41014F5FDA0F}"/>
          </ac:spMkLst>
        </pc:spChg>
        <pc:spChg chg="del">
          <ac:chgData name="Soraya San Rojas" userId="ee699595-9862-4f38-82a0-7140b1d27971" providerId="ADAL" clId="{24C387E1-0483-416D-88B8-0C8D9FE5A487}" dt="2023-04-19T16:00:41.670" v="1319" actId="478"/>
          <ac:spMkLst>
            <pc:docMk/>
            <pc:sldMk cId="1801654410" sldId="1558"/>
            <ac:spMk id="9" creationId="{239404A6-8038-4524-8B98-A9DDF904B886}"/>
          </ac:spMkLst>
        </pc:spChg>
        <pc:picChg chg="add del mod">
          <ac:chgData name="Soraya San Rojas" userId="ee699595-9862-4f38-82a0-7140b1d27971" providerId="ADAL" clId="{24C387E1-0483-416D-88B8-0C8D9FE5A487}" dt="2023-04-19T18:53:12.572" v="1751" actId="478"/>
          <ac:picMkLst>
            <pc:docMk/>
            <pc:sldMk cId="1801654410" sldId="1558"/>
            <ac:picMk id="4" creationId="{44405330-3713-480A-A90D-EE4C7ABA3581}"/>
          </ac:picMkLst>
        </pc:picChg>
        <pc:picChg chg="add del mod">
          <ac:chgData name="Soraya San Rojas" userId="ee699595-9862-4f38-82a0-7140b1d27971" providerId="ADAL" clId="{24C387E1-0483-416D-88B8-0C8D9FE5A487}" dt="2023-04-19T19:04:50.534" v="1889" actId="478"/>
          <ac:picMkLst>
            <pc:docMk/>
            <pc:sldMk cId="1801654410" sldId="1558"/>
            <ac:picMk id="8" creationId="{94CC388C-2A65-75BF-1FD2-FDDAE68842F3}"/>
          </ac:picMkLst>
        </pc:picChg>
        <pc:picChg chg="add del mod">
          <ac:chgData name="Soraya San Rojas" userId="ee699595-9862-4f38-82a0-7140b1d27971" providerId="ADAL" clId="{24C387E1-0483-416D-88B8-0C8D9FE5A487}" dt="2023-04-19T18:49:22.840" v="1691" actId="478"/>
          <ac:picMkLst>
            <pc:docMk/>
            <pc:sldMk cId="1801654410" sldId="1558"/>
            <ac:picMk id="9" creationId="{28FA5389-D6C1-4906-B7C3-6101340CA48C}"/>
          </ac:picMkLst>
        </pc:picChg>
        <pc:picChg chg="add del mod">
          <ac:chgData name="Soraya San Rojas" userId="ee699595-9862-4f38-82a0-7140b1d27971" providerId="ADAL" clId="{24C387E1-0483-416D-88B8-0C8D9FE5A487}" dt="2023-04-19T18:51:31.298" v="1727" actId="478"/>
          <ac:picMkLst>
            <pc:docMk/>
            <pc:sldMk cId="1801654410" sldId="1558"/>
            <ac:picMk id="10" creationId="{D3E5E335-D32A-4A24-9DDD-DD86D12C5FFF}"/>
          </ac:picMkLst>
        </pc:picChg>
        <pc:picChg chg="add del mod">
          <ac:chgData name="Soraya San Rojas" userId="ee699595-9862-4f38-82a0-7140b1d27971" providerId="ADAL" clId="{24C387E1-0483-416D-88B8-0C8D9FE5A487}" dt="2023-04-19T19:05:16.587" v="1902" actId="478"/>
          <ac:picMkLst>
            <pc:docMk/>
            <pc:sldMk cId="1801654410" sldId="1558"/>
            <ac:picMk id="11" creationId="{B4D8034D-D237-45D5-A1E1-8A78D6352AAC}"/>
          </ac:picMkLst>
        </pc:picChg>
        <pc:picChg chg="add del mod">
          <ac:chgData name="Soraya San Rojas" userId="ee699595-9862-4f38-82a0-7140b1d27971" providerId="ADAL" clId="{24C387E1-0483-416D-88B8-0C8D9FE5A487}" dt="2023-04-19T19:05:17.418" v="1903" actId="478"/>
          <ac:picMkLst>
            <pc:docMk/>
            <pc:sldMk cId="1801654410" sldId="1558"/>
            <ac:picMk id="12" creationId="{2842E8CA-CA94-46BE-A375-B4858233A528}"/>
          </ac:picMkLst>
        </pc:picChg>
        <pc:picChg chg="add del mod">
          <ac:chgData name="Soraya San Rojas" userId="ee699595-9862-4f38-82a0-7140b1d27971" providerId="ADAL" clId="{24C387E1-0483-416D-88B8-0C8D9FE5A487}" dt="2023-04-19T18:49:25.188" v="1692" actId="478"/>
          <ac:picMkLst>
            <pc:docMk/>
            <pc:sldMk cId="1801654410" sldId="1558"/>
            <ac:picMk id="13" creationId="{D0918269-C2A7-4671-B719-93DA853A16B8}"/>
          </ac:picMkLst>
        </pc:picChg>
        <pc:picChg chg="add mod">
          <ac:chgData name="Soraya San Rojas" userId="ee699595-9862-4f38-82a0-7140b1d27971" providerId="ADAL" clId="{24C387E1-0483-416D-88B8-0C8D9FE5A487}" dt="2023-04-19T16:06:28.512" v="1446" actId="1076"/>
          <ac:picMkLst>
            <pc:docMk/>
            <pc:sldMk cId="1801654410" sldId="1558"/>
            <ac:picMk id="14" creationId="{9758856A-35DC-4FBC-A2DB-D6C55E9910DE}"/>
          </ac:picMkLst>
        </pc:picChg>
        <pc:picChg chg="add del mod">
          <ac:chgData name="Soraya San Rojas" userId="ee699595-9862-4f38-82a0-7140b1d27971" providerId="ADAL" clId="{24C387E1-0483-416D-88B8-0C8D9FE5A487}" dt="2023-04-19T18:49:26.136" v="1693" actId="478"/>
          <ac:picMkLst>
            <pc:docMk/>
            <pc:sldMk cId="1801654410" sldId="1558"/>
            <ac:picMk id="15" creationId="{B49127B1-B412-4581-B6A5-0D69316846F7}"/>
          </ac:picMkLst>
        </pc:picChg>
        <pc:picChg chg="add del mod">
          <ac:chgData name="Soraya San Rojas" userId="ee699595-9862-4f38-82a0-7140b1d27971" providerId="ADAL" clId="{24C387E1-0483-416D-88B8-0C8D9FE5A487}" dt="2023-04-19T18:53:29.553" v="1767" actId="478"/>
          <ac:picMkLst>
            <pc:docMk/>
            <pc:sldMk cId="1801654410" sldId="1558"/>
            <ac:picMk id="17" creationId="{B4C331E4-E0CD-4816-B1E6-D6B1024F7323}"/>
          </ac:picMkLst>
        </pc:picChg>
        <pc:picChg chg="add mod">
          <ac:chgData name="Soraya San Rojas" userId="ee699595-9862-4f38-82a0-7140b1d27971" providerId="ADAL" clId="{24C387E1-0483-416D-88B8-0C8D9FE5A487}" dt="2023-04-19T16:09:35.493" v="1496"/>
          <ac:picMkLst>
            <pc:docMk/>
            <pc:sldMk cId="1801654410" sldId="1558"/>
            <ac:picMk id="18" creationId="{6D185D35-452A-468A-94EB-08327CE7E889}"/>
          </ac:picMkLst>
        </pc:picChg>
      </pc:sldChg>
      <pc:sldChg chg="addSp delSp modSp new mod delAnim modAnim">
        <pc:chgData name="Soraya San Rojas" userId="ee699595-9862-4f38-82a0-7140b1d27971" providerId="ADAL" clId="{24C387E1-0483-416D-88B8-0C8D9FE5A487}" dt="2023-04-19T20:42:08.814" v="4376" actId="113"/>
        <pc:sldMkLst>
          <pc:docMk/>
          <pc:sldMk cId="1503799739" sldId="1559"/>
        </pc:sldMkLst>
        <pc:spChg chg="del">
          <ac:chgData name="Soraya San Rojas" userId="ee699595-9862-4f38-82a0-7140b1d27971" providerId="ADAL" clId="{24C387E1-0483-416D-88B8-0C8D9FE5A487}" dt="2023-04-19T18:43:59.087" v="1563" actId="478"/>
          <ac:spMkLst>
            <pc:docMk/>
            <pc:sldMk cId="1503799739" sldId="1559"/>
            <ac:spMk id="2" creationId="{A1A79906-C573-41D9-88F6-7D8BB0ADE52F}"/>
          </ac:spMkLst>
        </pc:spChg>
        <pc:spChg chg="mod">
          <ac:chgData name="Soraya San Rojas" userId="ee699595-9862-4f38-82a0-7140b1d27971" providerId="ADAL" clId="{24C387E1-0483-416D-88B8-0C8D9FE5A487}" dt="2023-04-19T20:42:08.814" v="4376" actId="113"/>
          <ac:spMkLst>
            <pc:docMk/>
            <pc:sldMk cId="1503799739" sldId="1559"/>
            <ac:spMk id="3" creationId="{4B040B13-EDFA-48E9-BDF1-78D1ED4AF317}"/>
          </ac:spMkLst>
        </pc:spChg>
        <pc:spChg chg="del">
          <ac:chgData name="Soraya San Rojas" userId="ee699595-9862-4f38-82a0-7140b1d27971" providerId="ADAL" clId="{24C387E1-0483-416D-88B8-0C8D9FE5A487}" dt="2023-04-19T18:43:49.409" v="1561" actId="478"/>
          <ac:spMkLst>
            <pc:docMk/>
            <pc:sldMk cId="1503799739" sldId="1559"/>
            <ac:spMk id="4" creationId="{6F8C0677-89E2-4249-A92A-A5AECA76B031}"/>
          </ac:spMkLst>
        </pc:spChg>
        <pc:spChg chg="del">
          <ac:chgData name="Soraya San Rojas" userId="ee699595-9862-4f38-82a0-7140b1d27971" providerId="ADAL" clId="{24C387E1-0483-416D-88B8-0C8D9FE5A487}" dt="2023-04-19T18:43:47.362" v="1560" actId="478"/>
          <ac:spMkLst>
            <pc:docMk/>
            <pc:sldMk cId="1503799739" sldId="1559"/>
            <ac:spMk id="6" creationId="{6880AEC8-5521-487B-8CEE-AB541CCB84F5}"/>
          </ac:spMkLst>
        </pc:spChg>
        <pc:spChg chg="del">
          <ac:chgData name="Soraya San Rojas" userId="ee699595-9862-4f38-82a0-7140b1d27971" providerId="ADAL" clId="{24C387E1-0483-416D-88B8-0C8D9FE5A487}" dt="2023-04-19T18:43:44.130" v="1559" actId="478"/>
          <ac:spMkLst>
            <pc:docMk/>
            <pc:sldMk cId="1503799739" sldId="1559"/>
            <ac:spMk id="7" creationId="{C7479924-18DE-4B80-9E8A-EF6929F97EEB}"/>
          </ac:spMkLst>
        </pc:spChg>
        <pc:spChg chg="del">
          <ac:chgData name="Soraya San Rojas" userId="ee699595-9862-4f38-82a0-7140b1d27971" providerId="ADAL" clId="{24C387E1-0483-416D-88B8-0C8D9FE5A487}" dt="2023-04-19T18:42:09.496" v="1502" actId="478"/>
          <ac:spMkLst>
            <pc:docMk/>
            <pc:sldMk cId="1503799739" sldId="1559"/>
            <ac:spMk id="8" creationId="{07584000-EF88-46FD-BE3D-10C1149953CC}"/>
          </ac:spMkLst>
        </pc:spChg>
        <pc:spChg chg="del">
          <ac:chgData name="Soraya San Rojas" userId="ee699595-9862-4f38-82a0-7140b1d27971" providerId="ADAL" clId="{24C387E1-0483-416D-88B8-0C8D9FE5A487}" dt="2023-04-19T18:42:10.870" v="1503" actId="478"/>
          <ac:spMkLst>
            <pc:docMk/>
            <pc:sldMk cId="1503799739" sldId="1559"/>
            <ac:spMk id="9" creationId="{F971B853-4977-4993-A9CF-AD4A4A3D55A9}"/>
          </ac:spMkLst>
        </pc:spChg>
        <pc:spChg chg="mod">
          <ac:chgData name="Soraya San Rojas" userId="ee699595-9862-4f38-82a0-7140b1d27971" providerId="ADAL" clId="{24C387E1-0483-416D-88B8-0C8D9FE5A487}" dt="2023-04-19T18:42:56.660" v="1504"/>
          <ac:spMkLst>
            <pc:docMk/>
            <pc:sldMk cId="1503799739" sldId="1559"/>
            <ac:spMk id="11" creationId="{0E30CE53-98C1-4719-B10E-309980481FD2}"/>
          </ac:spMkLst>
        </pc:spChg>
        <pc:spChg chg="mod">
          <ac:chgData name="Soraya San Rojas" userId="ee699595-9862-4f38-82a0-7140b1d27971" providerId="ADAL" clId="{24C387E1-0483-416D-88B8-0C8D9FE5A487}" dt="2023-04-19T18:42:56.660" v="1504"/>
          <ac:spMkLst>
            <pc:docMk/>
            <pc:sldMk cId="1503799739" sldId="1559"/>
            <ac:spMk id="13" creationId="{0838462D-9A09-4B6B-BD3F-CB384F92E153}"/>
          </ac:spMkLst>
        </pc:spChg>
        <pc:spChg chg="mod">
          <ac:chgData name="Soraya San Rojas" userId="ee699595-9862-4f38-82a0-7140b1d27971" providerId="ADAL" clId="{24C387E1-0483-416D-88B8-0C8D9FE5A487}" dt="2023-04-19T18:43:01.762" v="1505"/>
          <ac:spMkLst>
            <pc:docMk/>
            <pc:sldMk cId="1503799739" sldId="1559"/>
            <ac:spMk id="16" creationId="{CFA02B72-A9C0-45D4-AFD7-69F45B28292C}"/>
          </ac:spMkLst>
        </pc:spChg>
        <pc:spChg chg="mod">
          <ac:chgData name="Soraya San Rojas" userId="ee699595-9862-4f38-82a0-7140b1d27971" providerId="ADAL" clId="{24C387E1-0483-416D-88B8-0C8D9FE5A487}" dt="2023-04-19T18:43:01.762" v="1505"/>
          <ac:spMkLst>
            <pc:docMk/>
            <pc:sldMk cId="1503799739" sldId="1559"/>
            <ac:spMk id="18" creationId="{3850FC17-BE6A-49EE-A14E-F50EB1385AC8}"/>
          </ac:spMkLst>
        </pc:spChg>
        <pc:spChg chg="mod topLvl">
          <ac:chgData name="Soraya San Rojas" userId="ee699595-9862-4f38-82a0-7140b1d27971" providerId="ADAL" clId="{24C387E1-0483-416D-88B8-0C8D9FE5A487}" dt="2023-04-19T19:06:30.761" v="1933" actId="1076"/>
          <ac:spMkLst>
            <pc:docMk/>
            <pc:sldMk cId="1503799739" sldId="1559"/>
            <ac:spMk id="21" creationId="{20730D1C-F429-4A8D-9F13-E1A19E455A13}"/>
          </ac:spMkLst>
        </pc:spChg>
        <pc:spChg chg="mod topLvl">
          <ac:chgData name="Soraya San Rojas" userId="ee699595-9862-4f38-82a0-7140b1d27971" providerId="ADAL" clId="{24C387E1-0483-416D-88B8-0C8D9FE5A487}" dt="2023-04-19T19:08:37.869" v="1955" actId="1076"/>
          <ac:spMkLst>
            <pc:docMk/>
            <pc:sldMk cId="1503799739" sldId="1559"/>
            <ac:spMk id="24" creationId="{D9AECE18-0DAA-4695-9DA6-068B194F082F}"/>
          </ac:spMkLst>
        </pc:spChg>
        <pc:spChg chg="add mod">
          <ac:chgData name="Soraya San Rojas" userId="ee699595-9862-4f38-82a0-7140b1d27971" providerId="ADAL" clId="{24C387E1-0483-416D-88B8-0C8D9FE5A487}" dt="2023-04-19T19:06:30.761" v="1933" actId="1076"/>
          <ac:spMkLst>
            <pc:docMk/>
            <pc:sldMk cId="1503799739" sldId="1559"/>
            <ac:spMk id="26" creationId="{A1CCF49D-6813-44FC-9319-B81B579CD661}"/>
          </ac:spMkLst>
        </pc:spChg>
        <pc:spChg chg="add del mod">
          <ac:chgData name="Soraya San Rojas" userId="ee699595-9862-4f38-82a0-7140b1d27971" providerId="ADAL" clId="{24C387E1-0483-416D-88B8-0C8D9FE5A487}" dt="2023-04-19T18:45:22.918" v="1616" actId="478"/>
          <ac:spMkLst>
            <pc:docMk/>
            <pc:sldMk cId="1503799739" sldId="1559"/>
            <ac:spMk id="28" creationId="{257409E1-EB84-47C1-9DC4-068B2FD4BE5E}"/>
          </ac:spMkLst>
        </pc:spChg>
        <pc:spChg chg="add del mod">
          <ac:chgData name="Soraya San Rojas" userId="ee699595-9862-4f38-82a0-7140b1d27971" providerId="ADAL" clId="{24C387E1-0483-416D-88B8-0C8D9FE5A487}" dt="2023-04-19T18:45:20.910" v="1614" actId="478"/>
          <ac:spMkLst>
            <pc:docMk/>
            <pc:sldMk cId="1503799739" sldId="1559"/>
            <ac:spMk id="29" creationId="{8FBDE623-7CA9-4A45-A291-C90B89251672}"/>
          </ac:spMkLst>
        </pc:spChg>
        <pc:spChg chg="add del mod">
          <ac:chgData name="Soraya San Rojas" userId="ee699595-9862-4f38-82a0-7140b1d27971" providerId="ADAL" clId="{24C387E1-0483-416D-88B8-0C8D9FE5A487}" dt="2023-04-19T18:45:20.373" v="1613" actId="478"/>
          <ac:spMkLst>
            <pc:docMk/>
            <pc:sldMk cId="1503799739" sldId="1559"/>
            <ac:spMk id="30" creationId="{1A655412-9815-45AB-B7B9-89D1E03B7ED4}"/>
          </ac:spMkLst>
        </pc:spChg>
        <pc:spChg chg="add del mod">
          <ac:chgData name="Soraya San Rojas" userId="ee699595-9862-4f38-82a0-7140b1d27971" providerId="ADAL" clId="{24C387E1-0483-416D-88B8-0C8D9FE5A487}" dt="2023-04-19T18:45:19.728" v="1612" actId="478"/>
          <ac:spMkLst>
            <pc:docMk/>
            <pc:sldMk cId="1503799739" sldId="1559"/>
            <ac:spMk id="31" creationId="{F982889A-FB7C-4E4B-8BA3-9B9DD2C1CA3E}"/>
          </ac:spMkLst>
        </pc:spChg>
        <pc:spChg chg="add mod">
          <ac:chgData name="Soraya San Rojas" userId="ee699595-9862-4f38-82a0-7140b1d27971" providerId="ADAL" clId="{24C387E1-0483-416D-88B8-0C8D9FE5A487}" dt="2023-04-19T19:09:36.663" v="1966" actId="1076"/>
          <ac:spMkLst>
            <pc:docMk/>
            <pc:sldMk cId="1503799739" sldId="1559"/>
            <ac:spMk id="32" creationId="{B8CC38DD-0D09-4CCF-AFDD-12433BAC8D64}"/>
          </ac:spMkLst>
        </pc:spChg>
        <pc:spChg chg="add mod">
          <ac:chgData name="Soraya San Rojas" userId="ee699595-9862-4f38-82a0-7140b1d27971" providerId="ADAL" clId="{24C387E1-0483-416D-88B8-0C8D9FE5A487}" dt="2023-04-19T19:09:30.797" v="1964" actId="1076"/>
          <ac:spMkLst>
            <pc:docMk/>
            <pc:sldMk cId="1503799739" sldId="1559"/>
            <ac:spMk id="33" creationId="{61F18648-0A38-4A09-B627-E22A649374C6}"/>
          </ac:spMkLst>
        </pc:spChg>
        <pc:spChg chg="add mod">
          <ac:chgData name="Soraya San Rojas" userId="ee699595-9862-4f38-82a0-7140b1d27971" providerId="ADAL" clId="{24C387E1-0483-416D-88B8-0C8D9FE5A487}" dt="2023-04-19T19:09:07.265" v="1960" actId="1076"/>
          <ac:spMkLst>
            <pc:docMk/>
            <pc:sldMk cId="1503799739" sldId="1559"/>
            <ac:spMk id="34" creationId="{7FDD5235-118F-4ABE-A7E3-4F97BCF47760}"/>
          </ac:spMkLst>
        </pc:spChg>
        <pc:spChg chg="add mod">
          <ac:chgData name="Soraya San Rojas" userId="ee699595-9862-4f38-82a0-7140b1d27971" providerId="ADAL" clId="{24C387E1-0483-416D-88B8-0C8D9FE5A487}" dt="2023-04-19T19:08:06.542" v="1951" actId="1076"/>
          <ac:spMkLst>
            <pc:docMk/>
            <pc:sldMk cId="1503799739" sldId="1559"/>
            <ac:spMk id="38" creationId="{B67C867C-C2F9-4285-B098-CD44692F77F4}"/>
          </ac:spMkLst>
        </pc:spChg>
        <pc:spChg chg="add mod">
          <ac:chgData name="Soraya San Rojas" userId="ee699595-9862-4f38-82a0-7140b1d27971" providerId="ADAL" clId="{24C387E1-0483-416D-88B8-0C8D9FE5A487}" dt="2023-04-19T19:06:30.761" v="1933" actId="1076"/>
          <ac:spMkLst>
            <pc:docMk/>
            <pc:sldMk cId="1503799739" sldId="1559"/>
            <ac:spMk id="39" creationId="{2422B921-5B46-4BC3-ACA5-5B248ABDE43F}"/>
          </ac:spMkLst>
        </pc:spChg>
        <pc:spChg chg="add mod">
          <ac:chgData name="Soraya San Rojas" userId="ee699595-9862-4f38-82a0-7140b1d27971" providerId="ADAL" clId="{24C387E1-0483-416D-88B8-0C8D9FE5A487}" dt="2023-04-19T19:08:15.446" v="1952" actId="1076"/>
          <ac:spMkLst>
            <pc:docMk/>
            <pc:sldMk cId="1503799739" sldId="1559"/>
            <ac:spMk id="40" creationId="{F3B570EB-8A3D-4DA5-AF16-58C7923AB12B}"/>
          </ac:spMkLst>
        </pc:spChg>
        <pc:spChg chg="add mod">
          <ac:chgData name="Soraya San Rojas" userId="ee699595-9862-4f38-82a0-7140b1d27971" providerId="ADAL" clId="{24C387E1-0483-416D-88B8-0C8D9FE5A487}" dt="2023-04-19T19:07:48.051" v="1947" actId="1076"/>
          <ac:spMkLst>
            <pc:docMk/>
            <pc:sldMk cId="1503799739" sldId="1559"/>
            <ac:spMk id="43" creationId="{BDE2A138-9506-4FEC-AD5B-E0A026E7413B}"/>
          </ac:spMkLst>
        </pc:spChg>
        <pc:spChg chg="add mod">
          <ac:chgData name="Soraya San Rojas" userId="ee699595-9862-4f38-82a0-7140b1d27971" providerId="ADAL" clId="{24C387E1-0483-416D-88B8-0C8D9FE5A487}" dt="2023-04-19T19:09:00.326" v="1958" actId="1076"/>
          <ac:spMkLst>
            <pc:docMk/>
            <pc:sldMk cId="1503799739" sldId="1559"/>
            <ac:spMk id="44" creationId="{7DB182CE-FBD4-47D5-BDD5-DAEA650E5962}"/>
          </ac:spMkLst>
        </pc:spChg>
        <pc:spChg chg="add del mod">
          <ac:chgData name="Soraya San Rojas" userId="ee699595-9862-4f38-82a0-7140b1d27971" providerId="ADAL" clId="{24C387E1-0483-416D-88B8-0C8D9FE5A487}" dt="2023-04-19T18:56:08.623" v="1790" actId="478"/>
          <ac:spMkLst>
            <pc:docMk/>
            <pc:sldMk cId="1503799739" sldId="1559"/>
            <ac:spMk id="49" creationId="{801E3A95-8B84-4274-B730-4AC84E2B0884}"/>
          </ac:spMkLst>
        </pc:spChg>
        <pc:spChg chg="add mod">
          <ac:chgData name="Soraya San Rojas" userId="ee699595-9862-4f38-82a0-7140b1d27971" providerId="ADAL" clId="{24C387E1-0483-416D-88B8-0C8D9FE5A487}" dt="2023-04-19T19:07:04.886" v="1940" actId="1076"/>
          <ac:spMkLst>
            <pc:docMk/>
            <pc:sldMk cId="1503799739" sldId="1559"/>
            <ac:spMk id="50" creationId="{00621079-16C4-4C10-BCDF-43D16F967C27}"/>
          </ac:spMkLst>
        </pc:spChg>
        <pc:spChg chg="add mod">
          <ac:chgData name="Soraya San Rojas" userId="ee699595-9862-4f38-82a0-7140b1d27971" providerId="ADAL" clId="{24C387E1-0483-416D-88B8-0C8D9FE5A487}" dt="2023-04-19T19:07:10.329" v="1941" actId="1076"/>
          <ac:spMkLst>
            <pc:docMk/>
            <pc:sldMk cId="1503799739" sldId="1559"/>
            <ac:spMk id="51" creationId="{67CB60E5-E7BF-4A18-9B7C-51F2AA1ED318}"/>
          </ac:spMkLst>
        </pc:spChg>
        <pc:spChg chg="add del mod">
          <ac:chgData name="Soraya San Rojas" userId="ee699595-9862-4f38-82a0-7140b1d27971" providerId="ADAL" clId="{24C387E1-0483-416D-88B8-0C8D9FE5A487}" dt="2023-04-19T19:00:11.414" v="1805" actId="478"/>
          <ac:spMkLst>
            <pc:docMk/>
            <pc:sldMk cId="1503799739" sldId="1559"/>
            <ac:spMk id="52" creationId="{7C35FE96-799D-452F-9E49-AF6606EEF6D7}"/>
          </ac:spMkLst>
        </pc:spChg>
        <pc:spChg chg="add del mod">
          <ac:chgData name="Soraya San Rojas" userId="ee699595-9862-4f38-82a0-7140b1d27971" providerId="ADAL" clId="{24C387E1-0483-416D-88B8-0C8D9FE5A487}" dt="2023-04-19T19:00:21.146" v="1808" actId="478"/>
          <ac:spMkLst>
            <pc:docMk/>
            <pc:sldMk cId="1503799739" sldId="1559"/>
            <ac:spMk id="53" creationId="{003780C1-4931-48F6-981D-DF8756605FD2}"/>
          </ac:spMkLst>
        </pc:spChg>
        <pc:spChg chg="add mod">
          <ac:chgData name="Soraya San Rojas" userId="ee699595-9862-4f38-82a0-7140b1d27971" providerId="ADAL" clId="{24C387E1-0483-416D-88B8-0C8D9FE5A487}" dt="2023-04-19T19:06:30.761" v="1933" actId="1076"/>
          <ac:spMkLst>
            <pc:docMk/>
            <pc:sldMk cId="1503799739" sldId="1559"/>
            <ac:spMk id="54" creationId="{874998F8-A35F-45EB-B933-96B704FDA4B4}"/>
          </ac:spMkLst>
        </pc:spChg>
        <pc:spChg chg="add mod">
          <ac:chgData name="Soraya San Rojas" userId="ee699595-9862-4f38-82a0-7140b1d27971" providerId="ADAL" clId="{24C387E1-0483-416D-88B8-0C8D9FE5A487}" dt="2023-04-19T19:07:27.736" v="1944" actId="1076"/>
          <ac:spMkLst>
            <pc:docMk/>
            <pc:sldMk cId="1503799739" sldId="1559"/>
            <ac:spMk id="56" creationId="{6ED807D5-590A-4F61-96FE-F70D6078666C}"/>
          </ac:spMkLst>
        </pc:spChg>
        <pc:spChg chg="add mod">
          <ac:chgData name="Soraya San Rojas" userId="ee699595-9862-4f38-82a0-7140b1d27971" providerId="ADAL" clId="{24C387E1-0483-416D-88B8-0C8D9FE5A487}" dt="2023-04-19T19:07:36.274" v="1946" actId="1076"/>
          <ac:spMkLst>
            <pc:docMk/>
            <pc:sldMk cId="1503799739" sldId="1559"/>
            <ac:spMk id="57" creationId="{7233EF30-AC0A-4A25-9BE1-E9472D1CA885}"/>
          </ac:spMkLst>
        </pc:spChg>
        <pc:grpChg chg="add mod">
          <ac:chgData name="Soraya San Rojas" userId="ee699595-9862-4f38-82a0-7140b1d27971" providerId="ADAL" clId="{24C387E1-0483-416D-88B8-0C8D9FE5A487}" dt="2023-04-19T19:09:19.954" v="1963" actId="14100"/>
          <ac:grpSpMkLst>
            <pc:docMk/>
            <pc:sldMk cId="1503799739" sldId="1559"/>
            <ac:grpSpMk id="10" creationId="{B6C94668-DD9C-4F19-8317-3203AFE135EE}"/>
          </ac:grpSpMkLst>
        </pc:grpChg>
        <pc:grpChg chg="mod">
          <ac:chgData name="Soraya San Rojas" userId="ee699595-9862-4f38-82a0-7140b1d27971" providerId="ADAL" clId="{24C387E1-0483-416D-88B8-0C8D9FE5A487}" dt="2023-04-19T18:42:56.660" v="1504"/>
          <ac:grpSpMkLst>
            <pc:docMk/>
            <pc:sldMk cId="1503799739" sldId="1559"/>
            <ac:grpSpMk id="12" creationId="{99A9FB6B-81EA-4564-8818-6E98840682A2}"/>
          </ac:grpSpMkLst>
        </pc:grpChg>
        <pc:grpChg chg="add del mod">
          <ac:chgData name="Soraya San Rojas" userId="ee699595-9862-4f38-82a0-7140b1d27971" providerId="ADAL" clId="{24C387E1-0483-416D-88B8-0C8D9FE5A487}" dt="2023-04-19T18:43:05.783" v="1507" actId="478"/>
          <ac:grpSpMkLst>
            <pc:docMk/>
            <pc:sldMk cId="1503799739" sldId="1559"/>
            <ac:grpSpMk id="15" creationId="{2D7B2397-7B68-42D8-96EE-183034397AD0}"/>
          </ac:grpSpMkLst>
        </pc:grpChg>
        <pc:grpChg chg="del mod">
          <ac:chgData name="Soraya San Rojas" userId="ee699595-9862-4f38-82a0-7140b1d27971" providerId="ADAL" clId="{24C387E1-0483-416D-88B8-0C8D9FE5A487}" dt="2023-04-19T18:43:03.710" v="1506" actId="478"/>
          <ac:grpSpMkLst>
            <pc:docMk/>
            <pc:sldMk cId="1503799739" sldId="1559"/>
            <ac:grpSpMk id="17" creationId="{21B57C3A-0FC8-42C3-B422-434D20B931B7}"/>
          </ac:grpSpMkLst>
        </pc:grpChg>
        <pc:grpChg chg="add del mod">
          <ac:chgData name="Soraya San Rojas" userId="ee699595-9862-4f38-82a0-7140b1d27971" providerId="ADAL" clId="{24C387E1-0483-416D-88B8-0C8D9FE5A487}" dt="2023-04-19T18:43:14.028" v="1509" actId="478"/>
          <ac:grpSpMkLst>
            <pc:docMk/>
            <pc:sldMk cId="1503799739" sldId="1559"/>
            <ac:grpSpMk id="20" creationId="{5C633577-D16A-4C93-B115-232E90E10B77}"/>
          </ac:grpSpMkLst>
        </pc:grpChg>
        <pc:grpChg chg="add del mod">
          <ac:chgData name="Soraya San Rojas" userId="ee699595-9862-4f38-82a0-7140b1d27971" providerId="ADAL" clId="{24C387E1-0483-416D-88B8-0C8D9FE5A487}" dt="2023-04-19T18:44:10.335" v="1567" actId="478"/>
          <ac:grpSpMkLst>
            <pc:docMk/>
            <pc:sldMk cId="1503799739" sldId="1559"/>
            <ac:grpSpMk id="23" creationId="{D577C75A-BCB7-4DE7-901C-425E168AD82E}"/>
          </ac:grpSpMkLst>
        </pc:grpChg>
        <pc:picChg chg="mod">
          <ac:chgData name="Soraya San Rojas" userId="ee699595-9862-4f38-82a0-7140b1d27971" providerId="ADAL" clId="{24C387E1-0483-416D-88B8-0C8D9FE5A487}" dt="2023-04-19T18:42:56.660" v="1504"/>
          <ac:picMkLst>
            <pc:docMk/>
            <pc:sldMk cId="1503799739" sldId="1559"/>
            <ac:picMk id="14" creationId="{AC3C9CE6-E076-4865-9771-BD113866DF6C}"/>
          </ac:picMkLst>
        </pc:picChg>
        <pc:picChg chg="del mod">
          <ac:chgData name="Soraya San Rojas" userId="ee699595-9862-4f38-82a0-7140b1d27971" providerId="ADAL" clId="{24C387E1-0483-416D-88B8-0C8D9FE5A487}" dt="2023-04-19T18:43:03.710" v="1506" actId="478"/>
          <ac:picMkLst>
            <pc:docMk/>
            <pc:sldMk cId="1503799739" sldId="1559"/>
            <ac:picMk id="19" creationId="{FD42FCF9-AA99-4D01-9A36-B8D5D26AEE06}"/>
          </ac:picMkLst>
        </pc:picChg>
        <pc:picChg chg="del mod topLvl">
          <ac:chgData name="Soraya San Rojas" userId="ee699595-9862-4f38-82a0-7140b1d27971" providerId="ADAL" clId="{24C387E1-0483-416D-88B8-0C8D9FE5A487}" dt="2023-04-19T18:43:14.028" v="1509" actId="478"/>
          <ac:picMkLst>
            <pc:docMk/>
            <pc:sldMk cId="1503799739" sldId="1559"/>
            <ac:picMk id="22" creationId="{1900AEED-3316-4720-844F-E76105F49CF5}"/>
          </ac:picMkLst>
        </pc:picChg>
        <pc:picChg chg="del mod topLvl">
          <ac:chgData name="Soraya San Rojas" userId="ee699595-9862-4f38-82a0-7140b1d27971" providerId="ADAL" clId="{24C387E1-0483-416D-88B8-0C8D9FE5A487}" dt="2023-04-19T18:44:10.335" v="1567" actId="478"/>
          <ac:picMkLst>
            <pc:docMk/>
            <pc:sldMk cId="1503799739" sldId="1559"/>
            <ac:picMk id="25" creationId="{7B92F0CE-A648-481A-A5F0-BA52EBFDF137}"/>
          </ac:picMkLst>
        </pc:picChg>
        <pc:picChg chg="add del mod">
          <ac:chgData name="Soraya San Rojas" userId="ee699595-9862-4f38-82a0-7140b1d27971" providerId="ADAL" clId="{24C387E1-0483-416D-88B8-0C8D9FE5A487}" dt="2023-04-19T18:48:58.422" v="1688" actId="478"/>
          <ac:picMkLst>
            <pc:docMk/>
            <pc:sldMk cId="1503799739" sldId="1559"/>
            <ac:picMk id="36" creationId="{69F939C9-A3D4-4A40-BE0A-3BCD23423C96}"/>
          </ac:picMkLst>
        </pc:picChg>
        <pc:picChg chg="add mod">
          <ac:chgData name="Soraya San Rojas" userId="ee699595-9862-4f38-82a0-7140b1d27971" providerId="ADAL" clId="{24C387E1-0483-416D-88B8-0C8D9FE5A487}" dt="2023-04-19T19:09:51.722" v="1967"/>
          <ac:picMkLst>
            <pc:docMk/>
            <pc:sldMk cId="1503799739" sldId="1559"/>
            <ac:picMk id="60" creationId="{1AB04AB7-5D65-4736-8166-CF58037CACCF}"/>
          </ac:picMkLst>
        </pc:picChg>
        <pc:cxnChg chg="add mod">
          <ac:chgData name="Soraya San Rojas" userId="ee699595-9862-4f38-82a0-7140b1d27971" providerId="ADAL" clId="{24C387E1-0483-416D-88B8-0C8D9FE5A487}" dt="2023-04-19T19:09:32.565" v="1965" actId="1076"/>
          <ac:cxnSpMkLst>
            <pc:docMk/>
            <pc:sldMk cId="1503799739" sldId="1559"/>
            <ac:cxnSpMk id="27" creationId="{327C1241-EAAE-4776-8F13-7C8DF61A6664}"/>
          </ac:cxnSpMkLst>
        </pc:cxnChg>
        <pc:cxnChg chg="add mod">
          <ac:chgData name="Soraya San Rojas" userId="ee699595-9862-4f38-82a0-7140b1d27971" providerId="ADAL" clId="{24C387E1-0483-416D-88B8-0C8D9FE5A487}" dt="2023-04-19T19:09:10.294" v="1961" actId="1076"/>
          <ac:cxnSpMkLst>
            <pc:docMk/>
            <pc:sldMk cId="1503799739" sldId="1559"/>
            <ac:cxnSpMk id="35" creationId="{3C71555D-3F2C-4692-A5B3-00F314DE90DA}"/>
          </ac:cxnSpMkLst>
        </pc:cxnChg>
        <pc:cxnChg chg="add del mod">
          <ac:chgData name="Soraya San Rojas" userId="ee699595-9862-4f38-82a0-7140b1d27971" providerId="ADAL" clId="{24C387E1-0483-416D-88B8-0C8D9FE5A487}" dt="2023-04-19T18:50:05.508" v="1697" actId="478"/>
          <ac:cxnSpMkLst>
            <pc:docMk/>
            <pc:sldMk cId="1503799739" sldId="1559"/>
            <ac:cxnSpMk id="37" creationId="{A571953E-867D-4601-B78F-1E9588442EBB}"/>
          </ac:cxnSpMkLst>
        </pc:cxnChg>
        <pc:cxnChg chg="add mod">
          <ac:chgData name="Soraya San Rojas" userId="ee699595-9862-4f38-82a0-7140b1d27971" providerId="ADAL" clId="{24C387E1-0483-416D-88B8-0C8D9FE5A487}" dt="2023-04-19T19:08:19.409" v="1953" actId="1076"/>
          <ac:cxnSpMkLst>
            <pc:docMk/>
            <pc:sldMk cId="1503799739" sldId="1559"/>
            <ac:cxnSpMk id="41" creationId="{45BA52DD-9D5E-4C4C-99A5-A900C51B7BAD}"/>
          </ac:cxnSpMkLst>
        </pc:cxnChg>
        <pc:cxnChg chg="add mod">
          <ac:chgData name="Soraya San Rojas" userId="ee699595-9862-4f38-82a0-7140b1d27971" providerId="ADAL" clId="{24C387E1-0483-416D-88B8-0C8D9FE5A487}" dt="2023-04-19T19:07:52.126" v="1948" actId="1076"/>
          <ac:cxnSpMkLst>
            <pc:docMk/>
            <pc:sldMk cId="1503799739" sldId="1559"/>
            <ac:cxnSpMk id="42" creationId="{4BBD6D48-1FA9-4B3C-BFA3-6F8F4E346F38}"/>
          </ac:cxnSpMkLst>
        </pc:cxnChg>
        <pc:cxnChg chg="add mod">
          <ac:chgData name="Soraya San Rojas" userId="ee699595-9862-4f38-82a0-7140b1d27971" providerId="ADAL" clId="{24C387E1-0483-416D-88B8-0C8D9FE5A487}" dt="2023-04-19T19:09:02.360" v="1959" actId="1076"/>
          <ac:cxnSpMkLst>
            <pc:docMk/>
            <pc:sldMk cId="1503799739" sldId="1559"/>
            <ac:cxnSpMk id="45" creationId="{2246C4E7-A371-46B4-881D-FF1BEE33C1A5}"/>
          </ac:cxnSpMkLst>
        </pc:cxnChg>
        <pc:cxnChg chg="add mod">
          <ac:chgData name="Soraya San Rojas" userId="ee699595-9862-4f38-82a0-7140b1d27971" providerId="ADAL" clId="{24C387E1-0483-416D-88B8-0C8D9FE5A487}" dt="2023-04-19T19:09:13.182" v="1962" actId="1076"/>
          <ac:cxnSpMkLst>
            <pc:docMk/>
            <pc:sldMk cId="1503799739" sldId="1559"/>
            <ac:cxnSpMk id="46" creationId="{D08AE02B-CF64-4B4B-B10D-A331AE895DC2}"/>
          </ac:cxnSpMkLst>
        </pc:cxnChg>
        <pc:cxnChg chg="add mod">
          <ac:chgData name="Soraya San Rojas" userId="ee699595-9862-4f38-82a0-7140b1d27971" providerId="ADAL" clId="{24C387E1-0483-416D-88B8-0C8D9FE5A487}" dt="2023-04-19T19:08:45.609" v="1956" actId="1076"/>
          <ac:cxnSpMkLst>
            <pc:docMk/>
            <pc:sldMk cId="1503799739" sldId="1559"/>
            <ac:cxnSpMk id="48" creationId="{0F41C716-39A7-45D8-82EB-D980CD1EF6B2}"/>
          </ac:cxnSpMkLst>
        </pc:cxnChg>
        <pc:cxnChg chg="add mod">
          <ac:chgData name="Soraya San Rojas" userId="ee699595-9862-4f38-82a0-7140b1d27971" providerId="ADAL" clId="{24C387E1-0483-416D-88B8-0C8D9FE5A487}" dt="2023-04-19T19:06:48.975" v="1936" actId="14100"/>
          <ac:cxnSpMkLst>
            <pc:docMk/>
            <pc:sldMk cId="1503799739" sldId="1559"/>
            <ac:cxnSpMk id="55" creationId="{FE765ADE-BF54-4A31-A6A3-E79F84B43EBC}"/>
          </ac:cxnSpMkLst>
        </pc:cxnChg>
        <pc:cxnChg chg="add mod">
          <ac:chgData name="Soraya San Rojas" userId="ee699595-9862-4f38-82a0-7140b1d27971" providerId="ADAL" clId="{24C387E1-0483-416D-88B8-0C8D9FE5A487}" dt="2023-04-19T19:07:22.063" v="1943" actId="1076"/>
          <ac:cxnSpMkLst>
            <pc:docMk/>
            <pc:sldMk cId="1503799739" sldId="1559"/>
            <ac:cxnSpMk id="59" creationId="{61AE1E4A-2911-4D59-AED9-256D4EB8A8A1}"/>
          </ac:cxnSpMkLst>
        </pc:cxnChg>
      </pc:sldChg>
      <pc:sldChg chg="addSp delSp modSp new mod delAnim modAnim">
        <pc:chgData name="Soraya San Rojas" userId="ee699595-9862-4f38-82a0-7140b1d27971" providerId="ADAL" clId="{24C387E1-0483-416D-88B8-0C8D9FE5A487}" dt="2023-04-19T21:55:15.527" v="7500" actId="2085"/>
        <pc:sldMkLst>
          <pc:docMk/>
          <pc:sldMk cId="157031890" sldId="1560"/>
        </pc:sldMkLst>
        <pc:spChg chg="mod">
          <ac:chgData name="Soraya San Rojas" userId="ee699595-9862-4f38-82a0-7140b1d27971" providerId="ADAL" clId="{24C387E1-0483-416D-88B8-0C8D9FE5A487}" dt="2023-04-19T20:41:47.356" v="4372" actId="1076"/>
          <ac:spMkLst>
            <pc:docMk/>
            <pc:sldMk cId="157031890" sldId="1560"/>
            <ac:spMk id="2" creationId="{A05061A1-1EBA-4AED-A730-E3639B0069CF}"/>
          </ac:spMkLst>
        </pc:spChg>
        <pc:spChg chg="mod">
          <ac:chgData name="Soraya San Rojas" userId="ee699595-9862-4f38-82a0-7140b1d27971" providerId="ADAL" clId="{24C387E1-0483-416D-88B8-0C8D9FE5A487}" dt="2023-04-19T21:14:19.740" v="4887" actId="20577"/>
          <ac:spMkLst>
            <pc:docMk/>
            <pc:sldMk cId="157031890" sldId="1560"/>
            <ac:spMk id="3" creationId="{DBDE5C04-0672-4522-95FD-A08BA622C84A}"/>
          </ac:spMkLst>
        </pc:spChg>
        <pc:spChg chg="del">
          <ac:chgData name="Soraya San Rojas" userId="ee699595-9862-4f38-82a0-7140b1d27971" providerId="ADAL" clId="{24C387E1-0483-416D-88B8-0C8D9FE5A487}" dt="2023-04-19T19:22:20.701" v="2274" actId="478"/>
          <ac:spMkLst>
            <pc:docMk/>
            <pc:sldMk cId="157031890" sldId="1560"/>
            <ac:spMk id="4" creationId="{E7C21DF6-00BE-4D34-93C0-2FB549CE1DBF}"/>
          </ac:spMkLst>
        </pc:spChg>
        <pc:spChg chg="mod">
          <ac:chgData name="Soraya San Rojas" userId="ee699595-9862-4f38-82a0-7140b1d27971" providerId="ADAL" clId="{24C387E1-0483-416D-88B8-0C8D9FE5A487}" dt="2023-04-19T20:41:33.845" v="4369" actId="1076"/>
          <ac:spMkLst>
            <pc:docMk/>
            <pc:sldMk cId="157031890" sldId="1560"/>
            <ac:spMk id="5" creationId="{8E8B74AD-FF8A-4DF5-94E4-A1118B80D64D}"/>
          </ac:spMkLst>
        </pc:spChg>
        <pc:spChg chg="del">
          <ac:chgData name="Soraya San Rojas" userId="ee699595-9862-4f38-82a0-7140b1d27971" providerId="ADAL" clId="{24C387E1-0483-416D-88B8-0C8D9FE5A487}" dt="2023-04-19T19:19:34.420" v="2160" actId="478"/>
          <ac:spMkLst>
            <pc:docMk/>
            <pc:sldMk cId="157031890" sldId="1560"/>
            <ac:spMk id="6" creationId="{1289D3E1-6080-4A9C-8BB6-BCB1A7034E30}"/>
          </ac:spMkLst>
        </pc:spChg>
        <pc:spChg chg="del">
          <ac:chgData name="Soraya San Rojas" userId="ee699595-9862-4f38-82a0-7140b1d27971" providerId="ADAL" clId="{24C387E1-0483-416D-88B8-0C8D9FE5A487}" dt="2023-04-19T19:19:31.056" v="2159" actId="478"/>
          <ac:spMkLst>
            <pc:docMk/>
            <pc:sldMk cId="157031890" sldId="1560"/>
            <ac:spMk id="7" creationId="{C39B39CB-8808-45CA-BBA3-0AEDBA93C2FF}"/>
          </ac:spMkLst>
        </pc:spChg>
        <pc:spChg chg="del">
          <ac:chgData name="Soraya San Rojas" userId="ee699595-9862-4f38-82a0-7140b1d27971" providerId="ADAL" clId="{24C387E1-0483-416D-88B8-0C8D9FE5A487}" dt="2023-04-19T19:19:28.951" v="2157" actId="478"/>
          <ac:spMkLst>
            <pc:docMk/>
            <pc:sldMk cId="157031890" sldId="1560"/>
            <ac:spMk id="8" creationId="{28870E88-90F7-4FFE-B1B6-382960560659}"/>
          </ac:spMkLst>
        </pc:spChg>
        <pc:spChg chg="del">
          <ac:chgData name="Soraya San Rojas" userId="ee699595-9862-4f38-82a0-7140b1d27971" providerId="ADAL" clId="{24C387E1-0483-416D-88B8-0C8D9FE5A487}" dt="2023-04-19T19:19:29.877" v="2158" actId="478"/>
          <ac:spMkLst>
            <pc:docMk/>
            <pc:sldMk cId="157031890" sldId="1560"/>
            <ac:spMk id="9" creationId="{7A379EA9-ADCF-48A4-AD0F-CFAFA8142170}"/>
          </ac:spMkLst>
        </pc:spChg>
        <pc:spChg chg="mod">
          <ac:chgData name="Soraya San Rojas" userId="ee699595-9862-4f38-82a0-7140b1d27971" providerId="ADAL" clId="{24C387E1-0483-416D-88B8-0C8D9FE5A487}" dt="2023-04-19T19:19:45.910" v="2163"/>
          <ac:spMkLst>
            <pc:docMk/>
            <pc:sldMk cId="157031890" sldId="1560"/>
            <ac:spMk id="13" creationId="{7EB9A9F8-AF61-408E-ACB2-B22BADA12F52}"/>
          </ac:spMkLst>
        </pc:spChg>
        <pc:spChg chg="add mod">
          <ac:chgData name="Soraya San Rojas" userId="ee699595-9862-4f38-82a0-7140b1d27971" providerId="ADAL" clId="{24C387E1-0483-416D-88B8-0C8D9FE5A487}" dt="2023-04-19T20:37:47.749" v="4272" actId="1076"/>
          <ac:spMkLst>
            <pc:docMk/>
            <pc:sldMk cId="157031890" sldId="1560"/>
            <ac:spMk id="18" creationId="{94A69BDB-A271-48D0-B731-C2935B328861}"/>
          </ac:spMkLst>
        </pc:spChg>
        <pc:spChg chg="add del mod">
          <ac:chgData name="Soraya San Rojas" userId="ee699595-9862-4f38-82a0-7140b1d27971" providerId="ADAL" clId="{24C387E1-0483-416D-88B8-0C8D9FE5A487}" dt="2023-04-19T19:20:17.469" v="2172" actId="478"/>
          <ac:spMkLst>
            <pc:docMk/>
            <pc:sldMk cId="157031890" sldId="1560"/>
            <ac:spMk id="19" creationId="{36812216-44AA-4D74-A364-D9581327FA68}"/>
          </ac:spMkLst>
        </pc:spChg>
        <pc:spChg chg="add mod">
          <ac:chgData name="Soraya San Rojas" userId="ee699595-9862-4f38-82a0-7140b1d27971" providerId="ADAL" clId="{24C387E1-0483-416D-88B8-0C8D9FE5A487}" dt="2023-04-19T20:37:47.749" v="4272" actId="1076"/>
          <ac:spMkLst>
            <pc:docMk/>
            <pc:sldMk cId="157031890" sldId="1560"/>
            <ac:spMk id="21" creationId="{6FA730EE-9BB1-41A5-B4F8-4030057CB4BD}"/>
          </ac:spMkLst>
        </pc:spChg>
        <pc:spChg chg="add mod">
          <ac:chgData name="Soraya San Rojas" userId="ee699595-9862-4f38-82a0-7140b1d27971" providerId="ADAL" clId="{24C387E1-0483-416D-88B8-0C8D9FE5A487}" dt="2023-04-19T20:37:47.749" v="4272" actId="1076"/>
          <ac:spMkLst>
            <pc:docMk/>
            <pc:sldMk cId="157031890" sldId="1560"/>
            <ac:spMk id="22" creationId="{60304FC4-F0D3-42AE-9C9C-8D4D282B5E14}"/>
          </ac:spMkLst>
        </pc:spChg>
        <pc:spChg chg="add mod">
          <ac:chgData name="Soraya San Rojas" userId="ee699595-9862-4f38-82a0-7140b1d27971" providerId="ADAL" clId="{24C387E1-0483-416D-88B8-0C8D9FE5A487}" dt="2023-04-19T20:37:47.749" v="4272" actId="1076"/>
          <ac:spMkLst>
            <pc:docMk/>
            <pc:sldMk cId="157031890" sldId="1560"/>
            <ac:spMk id="23" creationId="{F812470B-9FD3-475D-A0AC-903C864134B9}"/>
          </ac:spMkLst>
        </pc:spChg>
        <pc:spChg chg="add mod">
          <ac:chgData name="Soraya San Rojas" userId="ee699595-9862-4f38-82a0-7140b1d27971" providerId="ADAL" clId="{24C387E1-0483-416D-88B8-0C8D9FE5A487}" dt="2023-04-19T20:37:47.749" v="4272" actId="1076"/>
          <ac:spMkLst>
            <pc:docMk/>
            <pc:sldMk cId="157031890" sldId="1560"/>
            <ac:spMk id="27" creationId="{CB6BA154-C3AE-4633-AECE-1FA98B5904B2}"/>
          </ac:spMkLst>
        </pc:spChg>
        <pc:spChg chg="add mod">
          <ac:chgData name="Soraya San Rojas" userId="ee699595-9862-4f38-82a0-7140b1d27971" providerId="ADAL" clId="{24C387E1-0483-416D-88B8-0C8D9FE5A487}" dt="2023-04-19T20:37:47.749" v="4272" actId="1076"/>
          <ac:spMkLst>
            <pc:docMk/>
            <pc:sldMk cId="157031890" sldId="1560"/>
            <ac:spMk id="29" creationId="{9AC7B014-9802-433A-A1F5-9410C2D03608}"/>
          </ac:spMkLst>
        </pc:spChg>
        <pc:spChg chg="add mod">
          <ac:chgData name="Soraya San Rojas" userId="ee699595-9862-4f38-82a0-7140b1d27971" providerId="ADAL" clId="{24C387E1-0483-416D-88B8-0C8D9FE5A487}" dt="2023-04-19T20:37:47.749" v="4272" actId="1076"/>
          <ac:spMkLst>
            <pc:docMk/>
            <pc:sldMk cId="157031890" sldId="1560"/>
            <ac:spMk id="32" creationId="{49881596-7825-4099-94F8-78B81DFDA70D}"/>
          </ac:spMkLst>
        </pc:spChg>
        <pc:spChg chg="add mod">
          <ac:chgData name="Soraya San Rojas" userId="ee699595-9862-4f38-82a0-7140b1d27971" providerId="ADAL" clId="{24C387E1-0483-416D-88B8-0C8D9FE5A487}" dt="2023-04-19T20:37:47.749" v="4272" actId="1076"/>
          <ac:spMkLst>
            <pc:docMk/>
            <pc:sldMk cId="157031890" sldId="1560"/>
            <ac:spMk id="35" creationId="{CE1BCC13-C663-4CD9-9053-AB1330FF020D}"/>
          </ac:spMkLst>
        </pc:spChg>
        <pc:spChg chg="add mod">
          <ac:chgData name="Soraya San Rojas" userId="ee699595-9862-4f38-82a0-7140b1d27971" providerId="ADAL" clId="{24C387E1-0483-416D-88B8-0C8D9FE5A487}" dt="2023-04-19T20:37:47.749" v="4272" actId="1076"/>
          <ac:spMkLst>
            <pc:docMk/>
            <pc:sldMk cId="157031890" sldId="1560"/>
            <ac:spMk id="37" creationId="{4AB2B7C2-8B57-4CCA-A828-15AA8266DDEC}"/>
          </ac:spMkLst>
        </pc:spChg>
        <pc:spChg chg="add mod">
          <ac:chgData name="Soraya San Rojas" userId="ee699595-9862-4f38-82a0-7140b1d27971" providerId="ADAL" clId="{24C387E1-0483-416D-88B8-0C8D9FE5A487}" dt="2023-04-19T20:39:55.094" v="4367" actId="1076"/>
          <ac:spMkLst>
            <pc:docMk/>
            <pc:sldMk cId="157031890" sldId="1560"/>
            <ac:spMk id="38" creationId="{501A31E1-8D4D-4261-9F9A-0827845260E0}"/>
          </ac:spMkLst>
        </pc:spChg>
        <pc:spChg chg="add mod">
          <ac:chgData name="Soraya San Rojas" userId="ee699595-9862-4f38-82a0-7140b1d27971" providerId="ADAL" clId="{24C387E1-0483-416D-88B8-0C8D9FE5A487}" dt="2023-04-19T20:37:47.749" v="4272" actId="1076"/>
          <ac:spMkLst>
            <pc:docMk/>
            <pc:sldMk cId="157031890" sldId="1560"/>
            <ac:spMk id="41" creationId="{499B681F-048A-4564-BE8D-3B86354045D4}"/>
          </ac:spMkLst>
        </pc:spChg>
        <pc:spChg chg="add mod">
          <ac:chgData name="Soraya San Rojas" userId="ee699595-9862-4f38-82a0-7140b1d27971" providerId="ADAL" clId="{24C387E1-0483-416D-88B8-0C8D9FE5A487}" dt="2023-04-19T20:37:47.749" v="4272" actId="1076"/>
          <ac:spMkLst>
            <pc:docMk/>
            <pc:sldMk cId="157031890" sldId="1560"/>
            <ac:spMk id="43" creationId="{0BC63320-4021-4D37-A34F-463BD2EDEDD7}"/>
          </ac:spMkLst>
        </pc:spChg>
        <pc:spChg chg="add mod">
          <ac:chgData name="Soraya San Rojas" userId="ee699595-9862-4f38-82a0-7140b1d27971" providerId="ADAL" clId="{24C387E1-0483-416D-88B8-0C8D9FE5A487}" dt="2023-04-19T20:37:47.749" v="4272" actId="1076"/>
          <ac:spMkLst>
            <pc:docMk/>
            <pc:sldMk cId="157031890" sldId="1560"/>
            <ac:spMk id="45" creationId="{21B9E803-7558-4A50-8FCE-3FC2E5C23FE9}"/>
          </ac:spMkLst>
        </pc:spChg>
        <pc:spChg chg="add mod">
          <ac:chgData name="Soraya San Rojas" userId="ee699595-9862-4f38-82a0-7140b1d27971" providerId="ADAL" clId="{24C387E1-0483-416D-88B8-0C8D9FE5A487}" dt="2023-04-19T21:54:17.432" v="7487" actId="108"/>
          <ac:spMkLst>
            <pc:docMk/>
            <pc:sldMk cId="157031890" sldId="1560"/>
            <ac:spMk id="50" creationId="{4115D615-B71F-4BE9-93B7-6811B7DE9216}"/>
          </ac:spMkLst>
        </pc:spChg>
        <pc:spChg chg="add del mod">
          <ac:chgData name="Soraya San Rojas" userId="ee699595-9862-4f38-82a0-7140b1d27971" providerId="ADAL" clId="{24C387E1-0483-416D-88B8-0C8D9FE5A487}" dt="2023-04-19T20:07:22.934" v="3745" actId="478"/>
          <ac:spMkLst>
            <pc:docMk/>
            <pc:sldMk cId="157031890" sldId="1560"/>
            <ac:spMk id="52" creationId="{3A61003F-7900-4ED2-A3A2-FBA2BB7F1978}"/>
          </ac:spMkLst>
        </pc:spChg>
        <pc:spChg chg="add mod ord">
          <ac:chgData name="Soraya San Rojas" userId="ee699595-9862-4f38-82a0-7140b1d27971" providerId="ADAL" clId="{24C387E1-0483-416D-88B8-0C8D9FE5A487}" dt="2023-04-19T21:54:31.076" v="7491" actId="692"/>
          <ac:spMkLst>
            <pc:docMk/>
            <pc:sldMk cId="157031890" sldId="1560"/>
            <ac:spMk id="54" creationId="{6903906E-408D-4BF5-B263-FA54760031A8}"/>
          </ac:spMkLst>
        </pc:spChg>
        <pc:spChg chg="add mod">
          <ac:chgData name="Soraya San Rojas" userId="ee699595-9862-4f38-82a0-7140b1d27971" providerId="ADAL" clId="{24C387E1-0483-416D-88B8-0C8D9FE5A487}" dt="2023-04-19T21:54:37.263" v="7492" actId="207"/>
          <ac:spMkLst>
            <pc:docMk/>
            <pc:sldMk cId="157031890" sldId="1560"/>
            <ac:spMk id="58" creationId="{8FDB9CFC-C82B-453D-AA07-BB184C3F856A}"/>
          </ac:spMkLst>
        </pc:spChg>
        <pc:grpChg chg="add mod">
          <ac:chgData name="Soraya San Rojas" userId="ee699595-9862-4f38-82a0-7140b1d27971" providerId="ADAL" clId="{24C387E1-0483-416D-88B8-0C8D9FE5A487}" dt="2023-04-19T20:37:47.749" v="4272" actId="1076"/>
          <ac:grpSpMkLst>
            <pc:docMk/>
            <pc:sldMk cId="157031890" sldId="1560"/>
            <ac:grpSpMk id="12" creationId="{EA3FD4E0-8CFB-4FE4-AC23-51216DD13E68}"/>
          </ac:grpSpMkLst>
        </pc:grpChg>
        <pc:graphicFrameChg chg="add del mod">
          <ac:chgData name="Soraya San Rojas" userId="ee699595-9862-4f38-82a0-7140b1d27971" providerId="ADAL" clId="{24C387E1-0483-416D-88B8-0C8D9FE5A487}" dt="2023-04-19T19:24:06.155" v="2311"/>
          <ac:graphicFrameMkLst>
            <pc:docMk/>
            <pc:sldMk cId="157031890" sldId="1560"/>
            <ac:graphicFrameMk id="25" creationId="{1D7D29FA-0F6E-4C0D-A455-24D376C41849}"/>
          </ac:graphicFrameMkLst>
        </pc:graphicFrameChg>
        <pc:graphicFrameChg chg="add del mod">
          <ac:chgData name="Soraya San Rojas" userId="ee699595-9862-4f38-82a0-7140b1d27971" providerId="ADAL" clId="{24C387E1-0483-416D-88B8-0C8D9FE5A487}" dt="2023-04-19T19:25:32.145" v="2450" actId="478"/>
          <ac:graphicFrameMkLst>
            <pc:docMk/>
            <pc:sldMk cId="157031890" sldId="1560"/>
            <ac:graphicFrameMk id="26" creationId="{4FD39A62-A805-4843-8A04-140CC2743EF8}"/>
          </ac:graphicFrameMkLst>
        </pc:graphicFrameChg>
        <pc:graphicFrameChg chg="add del mod modGraphic">
          <ac:chgData name="Soraya San Rojas" userId="ee699595-9862-4f38-82a0-7140b1d27971" providerId="ADAL" clId="{24C387E1-0483-416D-88B8-0C8D9FE5A487}" dt="2023-04-19T19:27:09.181" v="2560" actId="478"/>
          <ac:graphicFrameMkLst>
            <pc:docMk/>
            <pc:sldMk cId="157031890" sldId="1560"/>
            <ac:graphicFrameMk id="30" creationId="{7014C032-27E5-4ECA-8F3F-C9267403E922}"/>
          </ac:graphicFrameMkLst>
        </pc:graphicFrameChg>
        <pc:graphicFrameChg chg="add del mod modGraphic">
          <ac:chgData name="Soraya San Rojas" userId="ee699595-9862-4f38-82a0-7140b1d27971" providerId="ADAL" clId="{24C387E1-0483-416D-88B8-0C8D9FE5A487}" dt="2023-04-19T19:50:26.460" v="2921" actId="478"/>
          <ac:graphicFrameMkLst>
            <pc:docMk/>
            <pc:sldMk cId="157031890" sldId="1560"/>
            <ac:graphicFrameMk id="34" creationId="{35BB1E17-BE5E-4419-AAB0-560F73097040}"/>
          </ac:graphicFrameMkLst>
        </pc:graphicFrameChg>
        <pc:graphicFrameChg chg="add del mod modGraphic">
          <ac:chgData name="Soraya San Rojas" userId="ee699595-9862-4f38-82a0-7140b1d27971" providerId="ADAL" clId="{24C387E1-0483-416D-88B8-0C8D9FE5A487}" dt="2023-04-19T19:54:40.338" v="3017" actId="478"/>
          <ac:graphicFrameMkLst>
            <pc:docMk/>
            <pc:sldMk cId="157031890" sldId="1560"/>
            <ac:graphicFrameMk id="39" creationId="{89A5FDA6-4ED4-479B-A0A8-82AE0DDB0265}"/>
          </ac:graphicFrameMkLst>
        </pc:graphicFrameChg>
        <pc:graphicFrameChg chg="add del mod">
          <ac:chgData name="Soraya San Rojas" userId="ee699595-9862-4f38-82a0-7140b1d27971" providerId="ADAL" clId="{24C387E1-0483-416D-88B8-0C8D9FE5A487}" dt="2023-04-19T20:01:37.505" v="3552" actId="478"/>
          <ac:graphicFrameMkLst>
            <pc:docMk/>
            <pc:sldMk cId="157031890" sldId="1560"/>
            <ac:graphicFrameMk id="47" creationId="{640C4289-4CE2-406F-B206-07DA9ACB18AF}"/>
          </ac:graphicFrameMkLst>
        </pc:graphicFrameChg>
        <pc:graphicFrameChg chg="add del mod">
          <ac:chgData name="Soraya San Rojas" userId="ee699595-9862-4f38-82a0-7140b1d27971" providerId="ADAL" clId="{24C387E1-0483-416D-88B8-0C8D9FE5A487}" dt="2023-04-19T20:02:57.347" v="3586" actId="478"/>
          <ac:graphicFrameMkLst>
            <pc:docMk/>
            <pc:sldMk cId="157031890" sldId="1560"/>
            <ac:graphicFrameMk id="48" creationId="{24F210F2-7905-41EC-953A-266618A323FA}"/>
          </ac:graphicFrameMkLst>
        </pc:graphicFrameChg>
        <pc:graphicFrameChg chg="add del mod">
          <ac:chgData name="Soraya San Rojas" userId="ee699595-9862-4f38-82a0-7140b1d27971" providerId="ADAL" clId="{24C387E1-0483-416D-88B8-0C8D9FE5A487}" dt="2023-04-19T20:06:40.789" v="3741" actId="478"/>
          <ac:graphicFrameMkLst>
            <pc:docMk/>
            <pc:sldMk cId="157031890" sldId="1560"/>
            <ac:graphicFrameMk id="49" creationId="{CE78AF4E-4D5B-45AA-8056-1FDB380117BD}"/>
          </ac:graphicFrameMkLst>
        </pc:graphicFrameChg>
        <pc:picChg chg="add mod">
          <ac:chgData name="Soraya San Rojas" userId="ee699595-9862-4f38-82a0-7140b1d27971" providerId="ADAL" clId="{24C387E1-0483-416D-88B8-0C8D9FE5A487}" dt="2023-04-19T21:54:12.799" v="7485" actId="1076"/>
          <ac:picMkLst>
            <pc:docMk/>
            <pc:sldMk cId="157031890" sldId="1560"/>
            <ac:picMk id="51" creationId="{08D4FF3E-C229-406A-BEE3-EBC484FC1FD2}"/>
          </ac:picMkLst>
        </pc:picChg>
        <pc:picChg chg="add mod">
          <ac:chgData name="Soraya San Rojas" userId="ee699595-9862-4f38-82a0-7140b1d27971" providerId="ADAL" clId="{24C387E1-0483-416D-88B8-0C8D9FE5A487}" dt="2023-04-19T21:54:08.915" v="7483" actId="1076"/>
          <ac:picMkLst>
            <pc:docMk/>
            <pc:sldMk cId="157031890" sldId="1560"/>
            <ac:picMk id="53" creationId="{A0BB4502-30B9-4BD4-B56D-A6B983100E5F}"/>
          </ac:picMkLst>
        </pc:picChg>
        <pc:picChg chg="add del mod">
          <ac:chgData name="Soraya San Rojas" userId="ee699595-9862-4f38-82a0-7140b1d27971" providerId="ADAL" clId="{24C387E1-0483-416D-88B8-0C8D9FE5A487}" dt="2023-04-19T21:53:46.605" v="7479" actId="478"/>
          <ac:picMkLst>
            <pc:docMk/>
            <pc:sldMk cId="157031890" sldId="1560"/>
            <ac:picMk id="55" creationId="{CD9FE092-22ED-4100-BE89-B8D21EFE3EA2}"/>
          </ac:picMkLst>
        </pc:picChg>
        <pc:picChg chg="add mod">
          <ac:chgData name="Soraya San Rojas" userId="ee699595-9862-4f38-82a0-7140b1d27971" providerId="ADAL" clId="{24C387E1-0483-416D-88B8-0C8D9FE5A487}" dt="2023-04-19T21:55:15.527" v="7500" actId="2085"/>
          <ac:picMkLst>
            <pc:docMk/>
            <pc:sldMk cId="157031890" sldId="1560"/>
            <ac:picMk id="56" creationId="{2AB6B68A-F974-4A3C-9744-9ECBF29E549D}"/>
          </ac:picMkLst>
        </pc:picChg>
        <pc:picChg chg="add mod">
          <ac:chgData name="Soraya San Rojas" userId="ee699595-9862-4f38-82a0-7140b1d27971" providerId="ADAL" clId="{24C387E1-0483-416D-88B8-0C8D9FE5A487}" dt="2023-04-19T20:37:51.805" v="4273" actId="1076"/>
          <ac:picMkLst>
            <pc:docMk/>
            <pc:sldMk cId="157031890" sldId="1560"/>
            <ac:picMk id="57" creationId="{D060D0BF-A3D9-4DA4-8A8C-3FBD05947BDA}"/>
          </ac:picMkLst>
        </pc:picChg>
        <pc:cxnChg chg="add mod">
          <ac:chgData name="Soraya San Rojas" userId="ee699595-9862-4f38-82a0-7140b1d27971" providerId="ADAL" clId="{24C387E1-0483-416D-88B8-0C8D9FE5A487}" dt="2023-04-19T20:37:47.749" v="4272" actId="1076"/>
          <ac:cxnSpMkLst>
            <pc:docMk/>
            <pc:sldMk cId="157031890" sldId="1560"/>
            <ac:cxnSpMk id="10" creationId="{EB2587C6-DE34-4FE9-822B-6AAF51A039C4}"/>
          </ac:cxnSpMkLst>
        </pc:cxnChg>
        <pc:cxnChg chg="mod">
          <ac:chgData name="Soraya San Rojas" userId="ee699595-9862-4f38-82a0-7140b1d27971" providerId="ADAL" clId="{24C387E1-0483-416D-88B8-0C8D9FE5A487}" dt="2023-04-19T19:19:45.910" v="2163"/>
          <ac:cxnSpMkLst>
            <pc:docMk/>
            <pc:sldMk cId="157031890" sldId="1560"/>
            <ac:cxnSpMk id="14" creationId="{171E03C5-AC40-4BC4-A96A-BDF9B1A8DC4E}"/>
          </ac:cxnSpMkLst>
        </pc:cxnChg>
        <pc:cxnChg chg="mod">
          <ac:chgData name="Soraya San Rojas" userId="ee699595-9862-4f38-82a0-7140b1d27971" providerId="ADAL" clId="{24C387E1-0483-416D-88B8-0C8D9FE5A487}" dt="2023-04-19T19:19:45.910" v="2163"/>
          <ac:cxnSpMkLst>
            <pc:docMk/>
            <pc:sldMk cId="157031890" sldId="1560"/>
            <ac:cxnSpMk id="15" creationId="{1B375852-B111-45BE-84BB-2F1ACF3853FC}"/>
          </ac:cxnSpMkLst>
        </pc:cxnChg>
        <pc:cxnChg chg="add mod">
          <ac:chgData name="Soraya San Rojas" userId="ee699595-9862-4f38-82a0-7140b1d27971" providerId="ADAL" clId="{24C387E1-0483-416D-88B8-0C8D9FE5A487}" dt="2023-04-19T20:37:47.749" v="4272" actId="1076"/>
          <ac:cxnSpMkLst>
            <pc:docMk/>
            <pc:sldMk cId="157031890" sldId="1560"/>
            <ac:cxnSpMk id="16" creationId="{0E7DC298-7573-48FF-AB3E-4D44EB84AFE2}"/>
          </ac:cxnSpMkLst>
        </pc:cxnChg>
        <pc:cxnChg chg="add mod">
          <ac:chgData name="Soraya San Rojas" userId="ee699595-9862-4f38-82a0-7140b1d27971" providerId="ADAL" clId="{24C387E1-0483-416D-88B8-0C8D9FE5A487}" dt="2023-04-19T20:37:47.749" v="4272" actId="1076"/>
          <ac:cxnSpMkLst>
            <pc:docMk/>
            <pc:sldMk cId="157031890" sldId="1560"/>
            <ac:cxnSpMk id="20" creationId="{D71C02A6-5308-4BB7-9DD1-F5A2DCFEB247}"/>
          </ac:cxnSpMkLst>
        </pc:cxnChg>
        <pc:cxnChg chg="add mod">
          <ac:chgData name="Soraya San Rojas" userId="ee699595-9862-4f38-82a0-7140b1d27971" providerId="ADAL" clId="{24C387E1-0483-416D-88B8-0C8D9FE5A487}" dt="2023-04-19T20:37:47.749" v="4272" actId="1076"/>
          <ac:cxnSpMkLst>
            <pc:docMk/>
            <pc:sldMk cId="157031890" sldId="1560"/>
            <ac:cxnSpMk id="24" creationId="{B1D346E0-2A1F-48F3-8C6A-472F5DFC0823}"/>
          </ac:cxnSpMkLst>
        </pc:cxnChg>
        <pc:cxnChg chg="add mod">
          <ac:chgData name="Soraya San Rojas" userId="ee699595-9862-4f38-82a0-7140b1d27971" providerId="ADAL" clId="{24C387E1-0483-416D-88B8-0C8D9FE5A487}" dt="2023-04-19T20:37:47.749" v="4272" actId="1076"/>
          <ac:cxnSpMkLst>
            <pc:docMk/>
            <pc:sldMk cId="157031890" sldId="1560"/>
            <ac:cxnSpMk id="28" creationId="{08391899-580B-4F52-9813-6FD2EFF3EA94}"/>
          </ac:cxnSpMkLst>
        </pc:cxnChg>
        <pc:cxnChg chg="add mod">
          <ac:chgData name="Soraya San Rojas" userId="ee699595-9862-4f38-82a0-7140b1d27971" providerId="ADAL" clId="{24C387E1-0483-416D-88B8-0C8D9FE5A487}" dt="2023-04-19T20:37:47.749" v="4272" actId="1076"/>
          <ac:cxnSpMkLst>
            <pc:docMk/>
            <pc:sldMk cId="157031890" sldId="1560"/>
            <ac:cxnSpMk id="33" creationId="{35497A2A-54F6-405D-9208-B0A3BC76F1AA}"/>
          </ac:cxnSpMkLst>
        </pc:cxnChg>
        <pc:cxnChg chg="add mod">
          <ac:chgData name="Soraya San Rojas" userId="ee699595-9862-4f38-82a0-7140b1d27971" providerId="ADAL" clId="{24C387E1-0483-416D-88B8-0C8D9FE5A487}" dt="2023-04-19T20:37:47.749" v="4272" actId="1076"/>
          <ac:cxnSpMkLst>
            <pc:docMk/>
            <pc:sldMk cId="157031890" sldId="1560"/>
            <ac:cxnSpMk id="40" creationId="{7BFA8AA6-E2F1-4E58-84D8-2A59FC6CAD63}"/>
          </ac:cxnSpMkLst>
        </pc:cxnChg>
        <pc:cxnChg chg="add mod">
          <ac:chgData name="Soraya San Rojas" userId="ee699595-9862-4f38-82a0-7140b1d27971" providerId="ADAL" clId="{24C387E1-0483-416D-88B8-0C8D9FE5A487}" dt="2023-04-19T20:37:47.749" v="4272" actId="1076"/>
          <ac:cxnSpMkLst>
            <pc:docMk/>
            <pc:sldMk cId="157031890" sldId="1560"/>
            <ac:cxnSpMk id="42" creationId="{827C10E0-281E-4AD2-9520-FAE1A6279DD2}"/>
          </ac:cxnSpMkLst>
        </pc:cxnChg>
        <pc:cxnChg chg="add mod">
          <ac:chgData name="Soraya San Rojas" userId="ee699595-9862-4f38-82a0-7140b1d27971" providerId="ADAL" clId="{24C387E1-0483-416D-88B8-0C8D9FE5A487}" dt="2023-04-19T20:37:47.749" v="4272" actId="1076"/>
          <ac:cxnSpMkLst>
            <pc:docMk/>
            <pc:sldMk cId="157031890" sldId="1560"/>
            <ac:cxnSpMk id="46" creationId="{E628C7DF-8C4F-42AD-9645-D4F408B40F9C}"/>
          </ac:cxnSpMkLst>
        </pc:cxnChg>
      </pc:sldChg>
      <pc:sldChg chg="addSp delSp modSp new mod modAnim">
        <pc:chgData name="Soraya San Rojas" userId="ee699595-9862-4f38-82a0-7140b1d27971" providerId="ADAL" clId="{24C387E1-0483-416D-88B8-0C8D9FE5A487}" dt="2023-04-19T21:12:48.712" v="4846" actId="1076"/>
        <pc:sldMkLst>
          <pc:docMk/>
          <pc:sldMk cId="617978228" sldId="1561"/>
        </pc:sldMkLst>
        <pc:spChg chg="mod">
          <ac:chgData name="Soraya San Rojas" userId="ee699595-9862-4f38-82a0-7140b1d27971" providerId="ADAL" clId="{24C387E1-0483-416D-88B8-0C8D9FE5A487}" dt="2023-04-19T20:52:03.170" v="4576" actId="5793"/>
          <ac:spMkLst>
            <pc:docMk/>
            <pc:sldMk cId="617978228" sldId="1561"/>
            <ac:spMk id="2" creationId="{BF818D66-66F3-44D2-A16C-80A70E6169D1}"/>
          </ac:spMkLst>
        </pc:spChg>
        <pc:spChg chg="mod">
          <ac:chgData name="Soraya San Rojas" userId="ee699595-9862-4f38-82a0-7140b1d27971" providerId="ADAL" clId="{24C387E1-0483-416D-88B8-0C8D9FE5A487}" dt="2023-04-19T20:53:00.046" v="4619" actId="1076"/>
          <ac:spMkLst>
            <pc:docMk/>
            <pc:sldMk cId="617978228" sldId="1561"/>
            <ac:spMk id="3" creationId="{8F92F0E9-C752-44F6-A326-147AF46387BA}"/>
          </ac:spMkLst>
        </pc:spChg>
        <pc:spChg chg="del">
          <ac:chgData name="Soraya San Rojas" userId="ee699595-9862-4f38-82a0-7140b1d27971" providerId="ADAL" clId="{24C387E1-0483-416D-88B8-0C8D9FE5A487}" dt="2023-04-19T20:45:43.543" v="4405" actId="478"/>
          <ac:spMkLst>
            <pc:docMk/>
            <pc:sldMk cId="617978228" sldId="1561"/>
            <ac:spMk id="4" creationId="{64B504D1-C08C-4140-85E4-5715496C3DE2}"/>
          </ac:spMkLst>
        </pc:spChg>
        <pc:spChg chg="mod">
          <ac:chgData name="Soraya San Rojas" userId="ee699595-9862-4f38-82a0-7140b1d27971" providerId="ADAL" clId="{24C387E1-0483-416D-88B8-0C8D9FE5A487}" dt="2023-04-19T20:53:07.181" v="4621" actId="113"/>
          <ac:spMkLst>
            <pc:docMk/>
            <pc:sldMk cId="617978228" sldId="1561"/>
            <ac:spMk id="5" creationId="{E57D9D37-7FEF-49E5-BAF4-3E59ECCC09BD}"/>
          </ac:spMkLst>
        </pc:spChg>
        <pc:spChg chg="del">
          <ac:chgData name="Soraya San Rojas" userId="ee699595-9862-4f38-82a0-7140b1d27971" providerId="ADAL" clId="{24C387E1-0483-416D-88B8-0C8D9FE5A487}" dt="2023-04-19T20:46:10.027" v="4408" actId="478"/>
          <ac:spMkLst>
            <pc:docMk/>
            <pc:sldMk cId="617978228" sldId="1561"/>
            <ac:spMk id="6" creationId="{B2A16AC7-FAA8-4F7B-9D9C-BF12C46A2E4E}"/>
          </ac:spMkLst>
        </pc:spChg>
        <pc:spChg chg="del">
          <ac:chgData name="Soraya San Rojas" userId="ee699595-9862-4f38-82a0-7140b1d27971" providerId="ADAL" clId="{24C387E1-0483-416D-88B8-0C8D9FE5A487}" dt="2023-04-19T20:45:41.351" v="4404" actId="478"/>
          <ac:spMkLst>
            <pc:docMk/>
            <pc:sldMk cId="617978228" sldId="1561"/>
            <ac:spMk id="7" creationId="{996EE925-5557-478C-A6E3-9620B70E1198}"/>
          </ac:spMkLst>
        </pc:spChg>
        <pc:spChg chg="del">
          <ac:chgData name="Soraya San Rojas" userId="ee699595-9862-4f38-82a0-7140b1d27971" providerId="ADAL" clId="{24C387E1-0483-416D-88B8-0C8D9FE5A487}" dt="2023-04-19T20:45:40.192" v="4403" actId="478"/>
          <ac:spMkLst>
            <pc:docMk/>
            <pc:sldMk cId="617978228" sldId="1561"/>
            <ac:spMk id="8" creationId="{A48D7B2D-0B20-4AD4-B56B-1A64C705B2C1}"/>
          </ac:spMkLst>
        </pc:spChg>
        <pc:spChg chg="del">
          <ac:chgData name="Soraya San Rojas" userId="ee699595-9862-4f38-82a0-7140b1d27971" providerId="ADAL" clId="{24C387E1-0483-416D-88B8-0C8D9FE5A487}" dt="2023-04-19T20:45:36.695" v="4402" actId="478"/>
          <ac:spMkLst>
            <pc:docMk/>
            <pc:sldMk cId="617978228" sldId="1561"/>
            <ac:spMk id="9" creationId="{071E2FFE-AC0C-4AAC-8309-8E35728D5456}"/>
          </ac:spMkLst>
        </pc:spChg>
        <pc:spChg chg="add mod">
          <ac:chgData name="Soraya San Rojas" userId="ee699595-9862-4f38-82a0-7140b1d27971" providerId="ADAL" clId="{24C387E1-0483-416D-88B8-0C8D9FE5A487}" dt="2023-04-19T21:12:17.391" v="4840" actId="1076"/>
          <ac:spMkLst>
            <pc:docMk/>
            <pc:sldMk cId="617978228" sldId="1561"/>
            <ac:spMk id="11" creationId="{CF3E8AC7-2574-4A85-A3F5-13DA3056C3DD}"/>
          </ac:spMkLst>
        </pc:spChg>
        <pc:spChg chg="add mod">
          <ac:chgData name="Soraya San Rojas" userId="ee699595-9862-4f38-82a0-7140b1d27971" providerId="ADAL" clId="{24C387E1-0483-416D-88B8-0C8D9FE5A487}" dt="2023-04-19T21:12:28.229" v="4842" actId="1076"/>
          <ac:spMkLst>
            <pc:docMk/>
            <pc:sldMk cId="617978228" sldId="1561"/>
            <ac:spMk id="12" creationId="{E2A6FD84-CF8D-43E0-B9C3-7A2F0D250750}"/>
          </ac:spMkLst>
        </pc:spChg>
        <pc:spChg chg="add mod">
          <ac:chgData name="Soraya San Rojas" userId="ee699595-9862-4f38-82a0-7140b1d27971" providerId="ADAL" clId="{24C387E1-0483-416D-88B8-0C8D9FE5A487}" dt="2023-04-19T21:12:48.712" v="4846" actId="1076"/>
          <ac:spMkLst>
            <pc:docMk/>
            <pc:sldMk cId="617978228" sldId="1561"/>
            <ac:spMk id="13" creationId="{8ED6F425-1F67-43E0-A37D-B52BD0EEC0A6}"/>
          </ac:spMkLst>
        </pc:spChg>
        <pc:spChg chg="add mod">
          <ac:chgData name="Soraya San Rojas" userId="ee699595-9862-4f38-82a0-7140b1d27971" providerId="ADAL" clId="{24C387E1-0483-416D-88B8-0C8D9FE5A487}" dt="2023-04-19T21:08:42.866" v="4801" actId="207"/>
          <ac:spMkLst>
            <pc:docMk/>
            <pc:sldMk cId="617978228" sldId="1561"/>
            <ac:spMk id="14" creationId="{498312E2-A261-46DD-AFF9-31C9AEEB01F8}"/>
          </ac:spMkLst>
        </pc:spChg>
        <pc:spChg chg="add mod">
          <ac:chgData name="Soraya San Rojas" userId="ee699595-9862-4f38-82a0-7140b1d27971" providerId="ADAL" clId="{24C387E1-0483-416D-88B8-0C8D9FE5A487}" dt="2023-04-19T21:12:08.571" v="4838" actId="1076"/>
          <ac:spMkLst>
            <pc:docMk/>
            <pc:sldMk cId="617978228" sldId="1561"/>
            <ac:spMk id="15" creationId="{101D37ED-638A-4345-A5FA-4EBD12DC0C20}"/>
          </ac:spMkLst>
        </pc:spChg>
        <pc:spChg chg="add mod">
          <ac:chgData name="Soraya San Rojas" userId="ee699595-9862-4f38-82a0-7140b1d27971" providerId="ADAL" clId="{24C387E1-0483-416D-88B8-0C8D9FE5A487}" dt="2023-04-19T21:12:33.943" v="4844" actId="1076"/>
          <ac:spMkLst>
            <pc:docMk/>
            <pc:sldMk cId="617978228" sldId="1561"/>
            <ac:spMk id="16" creationId="{DE173A99-9B0F-4A17-A48F-0CF794EAF0FF}"/>
          </ac:spMkLst>
        </pc:spChg>
        <pc:spChg chg="add mod">
          <ac:chgData name="Soraya San Rojas" userId="ee699595-9862-4f38-82a0-7140b1d27971" providerId="ADAL" clId="{24C387E1-0483-416D-88B8-0C8D9FE5A487}" dt="2023-04-19T21:07:09.260" v="4781" actId="108"/>
          <ac:spMkLst>
            <pc:docMk/>
            <pc:sldMk cId="617978228" sldId="1561"/>
            <ac:spMk id="17" creationId="{AA70B381-1A4F-491B-A61C-3B9948435EA6}"/>
          </ac:spMkLst>
        </pc:spChg>
        <pc:spChg chg="add mod">
          <ac:chgData name="Soraya San Rojas" userId="ee699595-9862-4f38-82a0-7140b1d27971" providerId="ADAL" clId="{24C387E1-0483-416D-88B8-0C8D9FE5A487}" dt="2023-04-19T21:12:46.044" v="4845" actId="1076"/>
          <ac:spMkLst>
            <pc:docMk/>
            <pc:sldMk cId="617978228" sldId="1561"/>
            <ac:spMk id="18" creationId="{7AC1F759-700E-4BDC-BE83-DD1BBA93F0E3}"/>
          </ac:spMkLst>
        </pc:spChg>
        <pc:spChg chg="add mod">
          <ac:chgData name="Soraya San Rojas" userId="ee699595-9862-4f38-82a0-7140b1d27971" providerId="ADAL" clId="{24C387E1-0483-416D-88B8-0C8D9FE5A487}" dt="2023-04-19T21:12:25.122" v="4841" actId="1076"/>
          <ac:spMkLst>
            <pc:docMk/>
            <pc:sldMk cId="617978228" sldId="1561"/>
            <ac:spMk id="19" creationId="{0F294849-E296-4ED0-B652-46B803A3CE32}"/>
          </ac:spMkLst>
        </pc:spChg>
        <pc:spChg chg="add mod">
          <ac:chgData name="Soraya San Rojas" userId="ee699595-9862-4f38-82a0-7140b1d27971" providerId="ADAL" clId="{24C387E1-0483-416D-88B8-0C8D9FE5A487}" dt="2023-04-19T21:12:29.972" v="4843" actId="1076"/>
          <ac:spMkLst>
            <pc:docMk/>
            <pc:sldMk cId="617978228" sldId="1561"/>
            <ac:spMk id="20" creationId="{A52F72D5-54E7-46EE-87F7-7A88538A99EB}"/>
          </ac:spMkLst>
        </pc:spChg>
        <pc:spChg chg="add mod">
          <ac:chgData name="Soraya San Rojas" userId="ee699595-9862-4f38-82a0-7140b1d27971" providerId="ADAL" clId="{24C387E1-0483-416D-88B8-0C8D9FE5A487}" dt="2023-04-19T21:12:10.671" v="4839" actId="1076"/>
          <ac:spMkLst>
            <pc:docMk/>
            <pc:sldMk cId="617978228" sldId="1561"/>
            <ac:spMk id="21" creationId="{B92FDCB8-046D-4086-B92A-6D15439AB4F4}"/>
          </ac:spMkLst>
        </pc:spChg>
        <pc:spChg chg="add mod">
          <ac:chgData name="Soraya San Rojas" userId="ee699595-9862-4f38-82a0-7140b1d27971" providerId="ADAL" clId="{24C387E1-0483-416D-88B8-0C8D9FE5A487}" dt="2023-04-19T21:07:24.712" v="4786" actId="108"/>
          <ac:spMkLst>
            <pc:docMk/>
            <pc:sldMk cId="617978228" sldId="1561"/>
            <ac:spMk id="22" creationId="{ADFF5C03-CBFF-48FB-973B-1E2382AAF107}"/>
          </ac:spMkLst>
        </pc:spChg>
        <pc:spChg chg="add del mod">
          <ac:chgData name="Soraya San Rojas" userId="ee699595-9862-4f38-82a0-7140b1d27971" providerId="ADAL" clId="{24C387E1-0483-416D-88B8-0C8D9FE5A487}" dt="2023-04-19T20:54:27.118" v="4634" actId="478"/>
          <ac:spMkLst>
            <pc:docMk/>
            <pc:sldMk cId="617978228" sldId="1561"/>
            <ac:spMk id="23" creationId="{2D6AD63F-D091-4900-A826-9711FD689B21}"/>
          </ac:spMkLst>
        </pc:spChg>
        <pc:spChg chg="add mod">
          <ac:chgData name="Soraya San Rojas" userId="ee699595-9862-4f38-82a0-7140b1d27971" providerId="ADAL" clId="{24C387E1-0483-416D-88B8-0C8D9FE5A487}" dt="2023-04-19T21:12:05.455" v="4837" actId="1076"/>
          <ac:spMkLst>
            <pc:docMk/>
            <pc:sldMk cId="617978228" sldId="1561"/>
            <ac:spMk id="24" creationId="{48CFF810-606C-47D8-9C32-7FC0DD37709C}"/>
          </ac:spMkLst>
        </pc:spChg>
        <pc:spChg chg="add del mod">
          <ac:chgData name="Soraya San Rojas" userId="ee699595-9862-4f38-82a0-7140b1d27971" providerId="ADAL" clId="{24C387E1-0483-416D-88B8-0C8D9FE5A487}" dt="2023-04-19T20:52:47.468" v="4600" actId="478"/>
          <ac:spMkLst>
            <pc:docMk/>
            <pc:sldMk cId="617978228" sldId="1561"/>
            <ac:spMk id="25" creationId="{798D626F-8CC2-47CB-889E-C6CCA3090B13}"/>
          </ac:spMkLst>
        </pc:spChg>
        <pc:grpChg chg="add mod">
          <ac:chgData name="Soraya San Rojas" userId="ee699595-9862-4f38-82a0-7140b1d27971" providerId="ADAL" clId="{24C387E1-0483-416D-88B8-0C8D9FE5A487}" dt="2023-04-19T21:09:24.106" v="4811" actId="14861"/>
          <ac:grpSpMkLst>
            <pc:docMk/>
            <pc:sldMk cId="617978228" sldId="1561"/>
            <ac:grpSpMk id="26" creationId="{37A49477-57EC-4741-943D-FCA920D90001}"/>
          </ac:grpSpMkLst>
        </pc:grpChg>
        <pc:grpChg chg="add mod">
          <ac:chgData name="Soraya San Rojas" userId="ee699595-9862-4f38-82a0-7140b1d27971" providerId="ADAL" clId="{24C387E1-0483-416D-88B8-0C8D9FE5A487}" dt="2023-04-19T21:01:39.560" v="4718" actId="1076"/>
          <ac:grpSpMkLst>
            <pc:docMk/>
            <pc:sldMk cId="617978228" sldId="1561"/>
            <ac:grpSpMk id="34" creationId="{112FF51B-24C3-4ABA-B5A8-2B6CEB8341B5}"/>
          </ac:grpSpMkLst>
        </pc:grpChg>
        <pc:picChg chg="add mod">
          <ac:chgData name="Soraya San Rojas" userId="ee699595-9862-4f38-82a0-7140b1d27971" providerId="ADAL" clId="{24C387E1-0483-416D-88B8-0C8D9FE5A487}" dt="2023-04-19T20:45:33.757" v="4401"/>
          <ac:picMkLst>
            <pc:docMk/>
            <pc:sldMk cId="617978228" sldId="1561"/>
            <ac:picMk id="10" creationId="{D3B07BF6-52AE-42DF-A722-EDEB8F5556A1}"/>
          </ac:picMkLst>
        </pc:picChg>
        <pc:cxnChg chg="mod">
          <ac:chgData name="Soraya San Rojas" userId="ee699595-9862-4f38-82a0-7140b1d27971" providerId="ADAL" clId="{24C387E1-0483-416D-88B8-0C8D9FE5A487}" dt="2023-04-19T21:09:57.039" v="4817" actId="692"/>
          <ac:cxnSpMkLst>
            <pc:docMk/>
            <pc:sldMk cId="617978228" sldId="1561"/>
            <ac:cxnSpMk id="27" creationId="{7B49C39C-8C1E-4B4E-B82B-CB592358E23C}"/>
          </ac:cxnSpMkLst>
        </pc:cxnChg>
        <pc:cxnChg chg="mod">
          <ac:chgData name="Soraya San Rojas" userId="ee699595-9862-4f38-82a0-7140b1d27971" providerId="ADAL" clId="{24C387E1-0483-416D-88B8-0C8D9FE5A487}" dt="2023-04-19T21:09:57.039" v="4817" actId="692"/>
          <ac:cxnSpMkLst>
            <pc:docMk/>
            <pc:sldMk cId="617978228" sldId="1561"/>
            <ac:cxnSpMk id="28" creationId="{8F2BD195-D03F-44AE-9E81-03D0FC9D6F8A}"/>
          </ac:cxnSpMkLst>
        </pc:cxnChg>
        <pc:cxnChg chg="mod">
          <ac:chgData name="Soraya San Rojas" userId="ee699595-9862-4f38-82a0-7140b1d27971" providerId="ADAL" clId="{24C387E1-0483-416D-88B8-0C8D9FE5A487}" dt="2023-04-19T21:09:57.039" v="4817" actId="692"/>
          <ac:cxnSpMkLst>
            <pc:docMk/>
            <pc:sldMk cId="617978228" sldId="1561"/>
            <ac:cxnSpMk id="29" creationId="{C599C39A-C42C-4D66-ABAF-8E707D4065A3}"/>
          </ac:cxnSpMkLst>
        </pc:cxnChg>
        <pc:cxnChg chg="mod">
          <ac:chgData name="Soraya San Rojas" userId="ee699595-9862-4f38-82a0-7140b1d27971" providerId="ADAL" clId="{24C387E1-0483-416D-88B8-0C8D9FE5A487}" dt="2023-04-19T21:09:57.039" v="4817" actId="692"/>
          <ac:cxnSpMkLst>
            <pc:docMk/>
            <pc:sldMk cId="617978228" sldId="1561"/>
            <ac:cxnSpMk id="30" creationId="{F1589AA6-E22C-4428-833F-AE3E59C6A780}"/>
          </ac:cxnSpMkLst>
        </pc:cxnChg>
        <pc:cxnChg chg="mod">
          <ac:chgData name="Soraya San Rojas" userId="ee699595-9862-4f38-82a0-7140b1d27971" providerId="ADAL" clId="{24C387E1-0483-416D-88B8-0C8D9FE5A487}" dt="2023-04-19T21:09:57.039" v="4817" actId="692"/>
          <ac:cxnSpMkLst>
            <pc:docMk/>
            <pc:sldMk cId="617978228" sldId="1561"/>
            <ac:cxnSpMk id="31" creationId="{8AD45460-261D-479A-83A9-32AB06028705}"/>
          </ac:cxnSpMkLst>
        </pc:cxnChg>
        <pc:cxnChg chg="mod">
          <ac:chgData name="Soraya San Rojas" userId="ee699595-9862-4f38-82a0-7140b1d27971" providerId="ADAL" clId="{24C387E1-0483-416D-88B8-0C8D9FE5A487}" dt="2023-04-19T21:09:57.039" v="4817" actId="692"/>
          <ac:cxnSpMkLst>
            <pc:docMk/>
            <pc:sldMk cId="617978228" sldId="1561"/>
            <ac:cxnSpMk id="32" creationId="{B17B45D6-1041-4087-A9E8-AC137445A737}"/>
          </ac:cxnSpMkLst>
        </pc:cxnChg>
        <pc:cxnChg chg="mod">
          <ac:chgData name="Soraya San Rojas" userId="ee699595-9862-4f38-82a0-7140b1d27971" providerId="ADAL" clId="{24C387E1-0483-416D-88B8-0C8D9FE5A487}" dt="2023-04-19T21:09:57.039" v="4817" actId="692"/>
          <ac:cxnSpMkLst>
            <pc:docMk/>
            <pc:sldMk cId="617978228" sldId="1561"/>
            <ac:cxnSpMk id="33" creationId="{6B71A52E-E1BB-4203-8F92-668D977B9276}"/>
          </ac:cxnSpMkLst>
        </pc:cxnChg>
        <pc:cxnChg chg="mod">
          <ac:chgData name="Soraya San Rojas" userId="ee699595-9862-4f38-82a0-7140b1d27971" providerId="ADAL" clId="{24C387E1-0483-416D-88B8-0C8D9FE5A487}" dt="2023-04-19T21:10:04.849" v="4818" actId="692"/>
          <ac:cxnSpMkLst>
            <pc:docMk/>
            <pc:sldMk cId="617978228" sldId="1561"/>
            <ac:cxnSpMk id="35" creationId="{7C53E2B3-1B1A-4C2F-95B3-9DF35D9F2566}"/>
          </ac:cxnSpMkLst>
        </pc:cxnChg>
        <pc:cxnChg chg="mod">
          <ac:chgData name="Soraya San Rojas" userId="ee699595-9862-4f38-82a0-7140b1d27971" providerId="ADAL" clId="{24C387E1-0483-416D-88B8-0C8D9FE5A487}" dt="2023-04-19T21:10:04.849" v="4818" actId="692"/>
          <ac:cxnSpMkLst>
            <pc:docMk/>
            <pc:sldMk cId="617978228" sldId="1561"/>
            <ac:cxnSpMk id="36" creationId="{57A85492-6C90-4A64-863E-2FF11B500EA9}"/>
          </ac:cxnSpMkLst>
        </pc:cxnChg>
        <pc:cxnChg chg="add del mod">
          <ac:chgData name="Soraya San Rojas" userId="ee699595-9862-4f38-82a0-7140b1d27971" providerId="ADAL" clId="{24C387E1-0483-416D-88B8-0C8D9FE5A487}" dt="2023-04-19T21:11:49.830" v="4835" actId="478"/>
          <ac:cxnSpMkLst>
            <pc:docMk/>
            <pc:sldMk cId="617978228" sldId="1561"/>
            <ac:cxnSpMk id="37" creationId="{19D520CE-C443-448D-9B0C-5262ACDE270B}"/>
          </ac:cxnSpMkLst>
        </pc:cxnChg>
        <pc:cxnChg chg="mod">
          <ac:chgData name="Soraya San Rojas" userId="ee699595-9862-4f38-82a0-7140b1d27971" providerId="ADAL" clId="{24C387E1-0483-416D-88B8-0C8D9FE5A487}" dt="2023-04-19T21:10:04.849" v="4818" actId="692"/>
          <ac:cxnSpMkLst>
            <pc:docMk/>
            <pc:sldMk cId="617978228" sldId="1561"/>
            <ac:cxnSpMk id="38" creationId="{E31F18FF-0A1E-416C-A926-D6AF909B41A7}"/>
          </ac:cxnSpMkLst>
        </pc:cxnChg>
        <pc:cxnChg chg="add del mod">
          <ac:chgData name="Soraya San Rojas" userId="ee699595-9862-4f38-82a0-7140b1d27971" providerId="ADAL" clId="{24C387E1-0483-416D-88B8-0C8D9FE5A487}" dt="2023-04-19T21:11:54.429" v="4836" actId="478"/>
          <ac:cxnSpMkLst>
            <pc:docMk/>
            <pc:sldMk cId="617978228" sldId="1561"/>
            <ac:cxnSpMk id="39" creationId="{105EEADE-A132-4FFF-9873-2848AACFFA6F}"/>
          </ac:cxnSpMkLst>
        </pc:cxnChg>
        <pc:cxnChg chg="add del mod">
          <ac:chgData name="Soraya San Rojas" userId="ee699595-9862-4f38-82a0-7140b1d27971" providerId="ADAL" clId="{24C387E1-0483-416D-88B8-0C8D9FE5A487}" dt="2023-04-19T21:11:47.358" v="4833" actId="478"/>
          <ac:cxnSpMkLst>
            <pc:docMk/>
            <pc:sldMk cId="617978228" sldId="1561"/>
            <ac:cxnSpMk id="40" creationId="{EA6E4B4C-E2FD-4492-9414-EDFAD83989FC}"/>
          </ac:cxnSpMkLst>
        </pc:cxnChg>
        <pc:cxnChg chg="mod">
          <ac:chgData name="Soraya San Rojas" userId="ee699595-9862-4f38-82a0-7140b1d27971" providerId="ADAL" clId="{24C387E1-0483-416D-88B8-0C8D9FE5A487}" dt="2023-04-19T21:10:04.849" v="4818" actId="692"/>
          <ac:cxnSpMkLst>
            <pc:docMk/>
            <pc:sldMk cId="617978228" sldId="1561"/>
            <ac:cxnSpMk id="41" creationId="{86F70264-8A60-4B68-9EA6-08A8F717DACA}"/>
          </ac:cxnSpMkLst>
        </pc:cxnChg>
        <pc:cxnChg chg="add del mod">
          <ac:chgData name="Soraya San Rojas" userId="ee699595-9862-4f38-82a0-7140b1d27971" providerId="ADAL" clId="{24C387E1-0483-416D-88B8-0C8D9FE5A487}" dt="2023-04-19T21:11:33.337" v="4829" actId="478"/>
          <ac:cxnSpMkLst>
            <pc:docMk/>
            <pc:sldMk cId="617978228" sldId="1561"/>
            <ac:cxnSpMk id="44" creationId="{DD0A0D3A-1323-4B33-A2C3-1DEE1A3DE1B2}"/>
          </ac:cxnSpMkLst>
        </pc:cxnChg>
        <pc:cxnChg chg="add mod">
          <ac:chgData name="Soraya San Rojas" userId="ee699595-9862-4f38-82a0-7140b1d27971" providerId="ADAL" clId="{24C387E1-0483-416D-88B8-0C8D9FE5A487}" dt="2023-04-19T21:10:17.113" v="4820" actId="692"/>
          <ac:cxnSpMkLst>
            <pc:docMk/>
            <pc:sldMk cId="617978228" sldId="1561"/>
            <ac:cxnSpMk id="45" creationId="{AC380282-CAE7-48E7-B09F-CAEC0E84139E}"/>
          </ac:cxnSpMkLst>
        </pc:cxnChg>
        <pc:cxnChg chg="add del mod">
          <ac:chgData name="Soraya San Rojas" userId="ee699595-9862-4f38-82a0-7140b1d27971" providerId="ADAL" clId="{24C387E1-0483-416D-88B8-0C8D9FE5A487}" dt="2023-04-19T21:03:16.945" v="4733"/>
          <ac:cxnSpMkLst>
            <pc:docMk/>
            <pc:sldMk cId="617978228" sldId="1561"/>
            <ac:cxnSpMk id="48" creationId="{24923D02-CE72-4928-8CC6-FFD1EE878608}"/>
          </ac:cxnSpMkLst>
        </pc:cxnChg>
        <pc:cxnChg chg="add mod">
          <ac:chgData name="Soraya San Rojas" userId="ee699595-9862-4f38-82a0-7140b1d27971" providerId="ADAL" clId="{24C387E1-0483-416D-88B8-0C8D9FE5A487}" dt="2023-04-19T21:10:12.607" v="4819" actId="692"/>
          <ac:cxnSpMkLst>
            <pc:docMk/>
            <pc:sldMk cId="617978228" sldId="1561"/>
            <ac:cxnSpMk id="49" creationId="{796B5935-E1C7-4AF6-8D89-D79CC127F158}"/>
          </ac:cxnSpMkLst>
        </pc:cxnChg>
        <pc:cxnChg chg="add mod">
          <ac:chgData name="Soraya San Rojas" userId="ee699595-9862-4f38-82a0-7140b1d27971" providerId="ADAL" clId="{24C387E1-0483-416D-88B8-0C8D9FE5A487}" dt="2023-04-19T21:10:26.327" v="4822" actId="692"/>
          <ac:cxnSpMkLst>
            <pc:docMk/>
            <pc:sldMk cId="617978228" sldId="1561"/>
            <ac:cxnSpMk id="50" creationId="{056E739F-A83C-4ED9-87B7-264CD650A699}"/>
          </ac:cxnSpMkLst>
        </pc:cxnChg>
        <pc:cxnChg chg="add mod">
          <ac:chgData name="Soraya San Rojas" userId="ee699595-9862-4f38-82a0-7140b1d27971" providerId="ADAL" clId="{24C387E1-0483-416D-88B8-0C8D9FE5A487}" dt="2023-04-19T21:10:29.550" v="4823" actId="692"/>
          <ac:cxnSpMkLst>
            <pc:docMk/>
            <pc:sldMk cId="617978228" sldId="1561"/>
            <ac:cxnSpMk id="51" creationId="{375C500C-7520-4F04-B3E5-7AC2D83999D5}"/>
          </ac:cxnSpMkLst>
        </pc:cxnChg>
      </pc:sldChg>
      <pc:sldChg chg="addSp delSp modSp new mod addAnim delAnim modAnim">
        <pc:chgData name="Soraya San Rojas" userId="ee699595-9862-4f38-82a0-7140b1d27971" providerId="ADAL" clId="{24C387E1-0483-416D-88B8-0C8D9FE5A487}" dt="2023-04-19T21:53:09.719" v="7477" actId="1076"/>
        <pc:sldMkLst>
          <pc:docMk/>
          <pc:sldMk cId="2876220616" sldId="1562"/>
        </pc:sldMkLst>
        <pc:spChg chg="mod">
          <ac:chgData name="Soraya San Rojas" userId="ee699595-9862-4f38-82a0-7140b1d27971" providerId="ADAL" clId="{24C387E1-0483-416D-88B8-0C8D9FE5A487}" dt="2023-04-19T21:14:58.977" v="4924" actId="20577"/>
          <ac:spMkLst>
            <pc:docMk/>
            <pc:sldMk cId="2876220616" sldId="1562"/>
            <ac:spMk id="2" creationId="{C464A612-DDE4-4DD2-B5C9-C7D49FF5CDBC}"/>
          </ac:spMkLst>
        </pc:spChg>
        <pc:spChg chg="mod">
          <ac:chgData name="Soraya San Rojas" userId="ee699595-9862-4f38-82a0-7140b1d27971" providerId="ADAL" clId="{24C387E1-0483-416D-88B8-0C8D9FE5A487}" dt="2023-04-19T21:14:45.219" v="4907" actId="108"/>
          <ac:spMkLst>
            <pc:docMk/>
            <pc:sldMk cId="2876220616" sldId="1562"/>
            <ac:spMk id="3" creationId="{B9A6BBBC-BD82-4839-92ED-72070E893954}"/>
          </ac:spMkLst>
        </pc:spChg>
        <pc:spChg chg="del">
          <ac:chgData name="Soraya San Rojas" userId="ee699595-9862-4f38-82a0-7140b1d27971" providerId="ADAL" clId="{24C387E1-0483-416D-88B8-0C8D9FE5A487}" dt="2023-04-19T21:14:04.505" v="4852" actId="478"/>
          <ac:spMkLst>
            <pc:docMk/>
            <pc:sldMk cId="2876220616" sldId="1562"/>
            <ac:spMk id="4" creationId="{2DC55AE8-EC2E-4DCC-898F-152C4F6DD251}"/>
          </ac:spMkLst>
        </pc:spChg>
        <pc:spChg chg="mod">
          <ac:chgData name="Soraya San Rojas" userId="ee699595-9862-4f38-82a0-7140b1d27971" providerId="ADAL" clId="{24C387E1-0483-416D-88B8-0C8D9FE5A487}" dt="2023-04-19T21:50:45.848" v="7461" actId="1076"/>
          <ac:spMkLst>
            <pc:docMk/>
            <pc:sldMk cId="2876220616" sldId="1562"/>
            <ac:spMk id="5" creationId="{F5E93563-579B-4109-AC03-2990382581DA}"/>
          </ac:spMkLst>
        </pc:spChg>
        <pc:spChg chg="del">
          <ac:chgData name="Soraya San Rojas" userId="ee699595-9862-4f38-82a0-7140b1d27971" providerId="ADAL" clId="{24C387E1-0483-416D-88B8-0C8D9FE5A487}" dt="2023-04-19T21:13:59.205" v="4848" actId="478"/>
          <ac:spMkLst>
            <pc:docMk/>
            <pc:sldMk cId="2876220616" sldId="1562"/>
            <ac:spMk id="6" creationId="{27401E83-8877-4740-B19F-529B128657F7}"/>
          </ac:spMkLst>
        </pc:spChg>
        <pc:spChg chg="del">
          <ac:chgData name="Soraya San Rojas" userId="ee699595-9862-4f38-82a0-7140b1d27971" providerId="ADAL" clId="{24C387E1-0483-416D-88B8-0C8D9FE5A487}" dt="2023-04-19T21:13:59.904" v="4849" actId="478"/>
          <ac:spMkLst>
            <pc:docMk/>
            <pc:sldMk cId="2876220616" sldId="1562"/>
            <ac:spMk id="7" creationId="{E9B34410-90CA-43DB-A818-EC496982E37E}"/>
          </ac:spMkLst>
        </pc:spChg>
        <pc:spChg chg="del">
          <ac:chgData name="Soraya San Rojas" userId="ee699595-9862-4f38-82a0-7140b1d27971" providerId="ADAL" clId="{24C387E1-0483-416D-88B8-0C8D9FE5A487}" dt="2023-04-19T21:14:01.895" v="4851" actId="478"/>
          <ac:spMkLst>
            <pc:docMk/>
            <pc:sldMk cId="2876220616" sldId="1562"/>
            <ac:spMk id="8" creationId="{B868C96C-0634-496B-B7F1-0C01B2860353}"/>
          </ac:spMkLst>
        </pc:spChg>
        <pc:spChg chg="del">
          <ac:chgData name="Soraya San Rojas" userId="ee699595-9862-4f38-82a0-7140b1d27971" providerId="ADAL" clId="{24C387E1-0483-416D-88B8-0C8D9FE5A487}" dt="2023-04-19T21:14:01.218" v="4850" actId="478"/>
          <ac:spMkLst>
            <pc:docMk/>
            <pc:sldMk cId="2876220616" sldId="1562"/>
            <ac:spMk id="9" creationId="{EC1C9F88-4D92-48A0-9E1A-532ED3BA83B7}"/>
          </ac:spMkLst>
        </pc:spChg>
        <pc:spChg chg="add mod">
          <ac:chgData name="Soraya San Rojas" userId="ee699595-9862-4f38-82a0-7140b1d27971" providerId="ADAL" clId="{24C387E1-0483-416D-88B8-0C8D9FE5A487}" dt="2023-04-19T21:50:38.307" v="7460" actId="1076"/>
          <ac:spMkLst>
            <pc:docMk/>
            <pc:sldMk cId="2876220616" sldId="1562"/>
            <ac:spMk id="14" creationId="{BA26B4CD-F99C-4260-924C-0C7587E661F6}"/>
          </ac:spMkLst>
        </pc:spChg>
        <pc:spChg chg="add mod">
          <ac:chgData name="Soraya San Rojas" userId="ee699595-9862-4f38-82a0-7140b1d27971" providerId="ADAL" clId="{24C387E1-0483-416D-88B8-0C8D9FE5A487}" dt="2023-04-19T21:50:38.307" v="7460" actId="1076"/>
          <ac:spMkLst>
            <pc:docMk/>
            <pc:sldMk cId="2876220616" sldId="1562"/>
            <ac:spMk id="16" creationId="{DA84BDB3-0548-4E05-AA27-0192FC6629CE}"/>
          </ac:spMkLst>
        </pc:spChg>
        <pc:spChg chg="add mod">
          <ac:chgData name="Soraya San Rojas" userId="ee699595-9862-4f38-82a0-7140b1d27971" providerId="ADAL" clId="{24C387E1-0483-416D-88B8-0C8D9FE5A487}" dt="2023-04-19T21:50:38.307" v="7460" actId="1076"/>
          <ac:spMkLst>
            <pc:docMk/>
            <pc:sldMk cId="2876220616" sldId="1562"/>
            <ac:spMk id="18" creationId="{4C720CEA-3E50-4579-AE68-19857942A3F4}"/>
          </ac:spMkLst>
        </pc:spChg>
        <pc:spChg chg="add del mod">
          <ac:chgData name="Soraya San Rojas" userId="ee699595-9862-4f38-82a0-7140b1d27971" providerId="ADAL" clId="{24C387E1-0483-416D-88B8-0C8D9FE5A487}" dt="2023-04-19T21:17:56.425" v="5058" actId="478"/>
          <ac:spMkLst>
            <pc:docMk/>
            <pc:sldMk cId="2876220616" sldId="1562"/>
            <ac:spMk id="20" creationId="{4EA1CA33-5091-412A-95D2-797301121945}"/>
          </ac:spMkLst>
        </pc:spChg>
        <pc:spChg chg="add mod">
          <ac:chgData name="Soraya San Rojas" userId="ee699595-9862-4f38-82a0-7140b1d27971" providerId="ADAL" clId="{24C387E1-0483-416D-88B8-0C8D9FE5A487}" dt="2023-04-19T21:50:38.307" v="7460" actId="1076"/>
          <ac:spMkLst>
            <pc:docMk/>
            <pc:sldMk cId="2876220616" sldId="1562"/>
            <ac:spMk id="22" creationId="{0A5FA3DB-6A5D-4FC4-A342-15DBF54F35DA}"/>
          </ac:spMkLst>
        </pc:spChg>
        <pc:spChg chg="add mod">
          <ac:chgData name="Soraya San Rojas" userId="ee699595-9862-4f38-82a0-7140b1d27971" providerId="ADAL" clId="{24C387E1-0483-416D-88B8-0C8D9FE5A487}" dt="2023-04-19T21:50:38.307" v="7460" actId="1076"/>
          <ac:spMkLst>
            <pc:docMk/>
            <pc:sldMk cId="2876220616" sldId="1562"/>
            <ac:spMk id="24" creationId="{9E193B91-CCDE-4D52-882A-350910110BF3}"/>
          </ac:spMkLst>
        </pc:spChg>
        <pc:spChg chg="add del mod">
          <ac:chgData name="Soraya San Rojas" userId="ee699595-9862-4f38-82a0-7140b1d27971" providerId="ADAL" clId="{24C387E1-0483-416D-88B8-0C8D9FE5A487}" dt="2023-04-19T21:33:27.442" v="6386" actId="478"/>
          <ac:spMkLst>
            <pc:docMk/>
            <pc:sldMk cId="2876220616" sldId="1562"/>
            <ac:spMk id="26" creationId="{E321D78B-9193-46A2-8039-5E80F4F91458}"/>
          </ac:spMkLst>
        </pc:spChg>
        <pc:spChg chg="add del mod">
          <ac:chgData name="Soraya San Rojas" userId="ee699595-9862-4f38-82a0-7140b1d27971" providerId="ADAL" clId="{24C387E1-0483-416D-88B8-0C8D9FE5A487}" dt="2023-04-19T21:36:34.040" v="6581" actId="478"/>
          <ac:spMkLst>
            <pc:docMk/>
            <pc:sldMk cId="2876220616" sldId="1562"/>
            <ac:spMk id="28" creationId="{4595BB06-F4F6-42BA-850B-167740180304}"/>
          </ac:spMkLst>
        </pc:spChg>
        <pc:spChg chg="add mod">
          <ac:chgData name="Soraya San Rojas" userId="ee699595-9862-4f38-82a0-7140b1d27971" providerId="ADAL" clId="{24C387E1-0483-416D-88B8-0C8D9FE5A487}" dt="2023-04-19T21:50:38.307" v="7460" actId="1076"/>
          <ac:spMkLst>
            <pc:docMk/>
            <pc:sldMk cId="2876220616" sldId="1562"/>
            <ac:spMk id="29" creationId="{E850F8F2-6296-4653-9DCC-900DB60A42DC}"/>
          </ac:spMkLst>
        </pc:spChg>
        <pc:spChg chg="add mod">
          <ac:chgData name="Soraya San Rojas" userId="ee699595-9862-4f38-82a0-7140b1d27971" providerId="ADAL" clId="{24C387E1-0483-416D-88B8-0C8D9FE5A487}" dt="2023-04-19T21:50:38.307" v="7460" actId="1076"/>
          <ac:spMkLst>
            <pc:docMk/>
            <pc:sldMk cId="2876220616" sldId="1562"/>
            <ac:spMk id="30" creationId="{E4AF1003-A117-4620-ADD3-1086E62E7604}"/>
          </ac:spMkLst>
        </pc:spChg>
        <pc:spChg chg="add mod">
          <ac:chgData name="Soraya San Rojas" userId="ee699595-9862-4f38-82a0-7140b1d27971" providerId="ADAL" clId="{24C387E1-0483-416D-88B8-0C8D9FE5A487}" dt="2023-04-19T21:50:38.307" v="7460" actId="1076"/>
          <ac:spMkLst>
            <pc:docMk/>
            <pc:sldMk cId="2876220616" sldId="1562"/>
            <ac:spMk id="32" creationId="{23C6A999-D8E8-40B2-A5F0-E31FADED9F74}"/>
          </ac:spMkLst>
        </pc:spChg>
        <pc:spChg chg="add del mod">
          <ac:chgData name="Soraya San Rojas" userId="ee699595-9862-4f38-82a0-7140b1d27971" providerId="ADAL" clId="{24C387E1-0483-416D-88B8-0C8D9FE5A487}" dt="2023-04-19T21:33:05.398" v="6385" actId="478"/>
          <ac:spMkLst>
            <pc:docMk/>
            <pc:sldMk cId="2876220616" sldId="1562"/>
            <ac:spMk id="35" creationId="{F2D21CF2-BB2D-47EB-89F0-85A6CEA94175}"/>
          </ac:spMkLst>
        </pc:spChg>
        <pc:spChg chg="add mod">
          <ac:chgData name="Soraya San Rojas" userId="ee699595-9862-4f38-82a0-7140b1d27971" providerId="ADAL" clId="{24C387E1-0483-416D-88B8-0C8D9FE5A487}" dt="2023-04-19T21:50:38.307" v="7460" actId="1076"/>
          <ac:spMkLst>
            <pc:docMk/>
            <pc:sldMk cId="2876220616" sldId="1562"/>
            <ac:spMk id="36" creationId="{AF576313-0D4A-4890-A6E0-5ED067C80F4C}"/>
          </ac:spMkLst>
        </pc:spChg>
        <pc:spChg chg="add del mod">
          <ac:chgData name="Soraya San Rojas" userId="ee699595-9862-4f38-82a0-7140b1d27971" providerId="ADAL" clId="{24C387E1-0483-416D-88B8-0C8D9FE5A487}" dt="2023-04-19T21:36:36.274" v="6582" actId="478"/>
          <ac:spMkLst>
            <pc:docMk/>
            <pc:sldMk cId="2876220616" sldId="1562"/>
            <ac:spMk id="37" creationId="{6995459D-97E9-4889-81C9-0403004754A1}"/>
          </ac:spMkLst>
        </pc:spChg>
        <pc:spChg chg="add mod">
          <ac:chgData name="Soraya San Rojas" userId="ee699595-9862-4f38-82a0-7140b1d27971" providerId="ADAL" clId="{24C387E1-0483-416D-88B8-0C8D9FE5A487}" dt="2023-04-19T21:50:38.307" v="7460" actId="1076"/>
          <ac:spMkLst>
            <pc:docMk/>
            <pc:sldMk cId="2876220616" sldId="1562"/>
            <ac:spMk id="39" creationId="{2CEE319A-40DE-41EA-9191-51120AB3A4BF}"/>
          </ac:spMkLst>
        </pc:spChg>
        <pc:spChg chg="add mod">
          <ac:chgData name="Soraya San Rojas" userId="ee699595-9862-4f38-82a0-7140b1d27971" providerId="ADAL" clId="{24C387E1-0483-416D-88B8-0C8D9FE5A487}" dt="2023-04-19T21:50:38.307" v="7460" actId="1076"/>
          <ac:spMkLst>
            <pc:docMk/>
            <pc:sldMk cId="2876220616" sldId="1562"/>
            <ac:spMk id="40" creationId="{730AB0E9-883A-4D9C-96E8-E92B29A27DED}"/>
          </ac:spMkLst>
        </pc:spChg>
        <pc:spChg chg="add del mod">
          <ac:chgData name="Soraya San Rojas" userId="ee699595-9862-4f38-82a0-7140b1d27971" providerId="ADAL" clId="{24C387E1-0483-416D-88B8-0C8D9FE5A487}" dt="2023-04-19T21:51:25.728" v="7463" actId="20577"/>
          <ac:spMkLst>
            <pc:docMk/>
            <pc:sldMk cId="2876220616" sldId="1562"/>
            <ac:spMk id="41" creationId="{F7A66B8E-7D13-4218-87E1-018EDA949C70}"/>
          </ac:spMkLst>
        </pc:spChg>
        <pc:spChg chg="add mod">
          <ac:chgData name="Soraya San Rojas" userId="ee699595-9862-4f38-82a0-7140b1d27971" providerId="ADAL" clId="{24C387E1-0483-416D-88B8-0C8D9FE5A487}" dt="2023-04-19T21:53:09.719" v="7477" actId="1076"/>
          <ac:spMkLst>
            <pc:docMk/>
            <pc:sldMk cId="2876220616" sldId="1562"/>
            <ac:spMk id="43" creationId="{C76ED265-CEC5-41F5-8F08-5394B93AEFAD}"/>
          </ac:spMkLst>
        </pc:spChg>
        <pc:graphicFrameChg chg="add del mod">
          <ac:chgData name="Soraya San Rojas" userId="ee699595-9862-4f38-82a0-7140b1d27971" providerId="ADAL" clId="{24C387E1-0483-416D-88B8-0C8D9FE5A487}" dt="2023-04-19T21:23:43.777" v="5411" actId="478"/>
          <ac:graphicFrameMkLst>
            <pc:docMk/>
            <pc:sldMk cId="2876220616" sldId="1562"/>
            <ac:graphicFrameMk id="31" creationId="{D1FBF7E7-5DE4-4AA1-8E6F-E1C9D41588E9}"/>
          </ac:graphicFrameMkLst>
        </pc:graphicFrameChg>
        <pc:graphicFrameChg chg="add del mod">
          <ac:chgData name="Soraya San Rojas" userId="ee699595-9862-4f38-82a0-7140b1d27971" providerId="ADAL" clId="{24C387E1-0483-416D-88B8-0C8D9FE5A487}" dt="2023-04-19T21:27:43.785" v="5783" actId="478"/>
          <ac:graphicFrameMkLst>
            <pc:docMk/>
            <pc:sldMk cId="2876220616" sldId="1562"/>
            <ac:graphicFrameMk id="33" creationId="{EDF15321-97F8-4CFF-BB14-65513FC3472E}"/>
          </ac:graphicFrameMkLst>
        </pc:graphicFrameChg>
        <pc:picChg chg="add mod">
          <ac:chgData name="Soraya San Rojas" userId="ee699595-9862-4f38-82a0-7140b1d27971" providerId="ADAL" clId="{24C387E1-0483-416D-88B8-0C8D9FE5A487}" dt="2023-04-19T21:50:51.431" v="7462"/>
          <ac:picMkLst>
            <pc:docMk/>
            <pc:sldMk cId="2876220616" sldId="1562"/>
            <ac:picMk id="42" creationId="{B884669C-55E7-4AB2-A4C0-3E42880DDDE1}"/>
          </ac:picMkLst>
        </pc:picChg>
        <pc:picChg chg="add mod">
          <ac:chgData name="Soraya San Rojas" userId="ee699595-9862-4f38-82a0-7140b1d27971" providerId="ADAL" clId="{24C387E1-0483-416D-88B8-0C8D9FE5A487}" dt="2023-04-19T21:53:09.719" v="7477" actId="1076"/>
          <ac:picMkLst>
            <pc:docMk/>
            <pc:sldMk cId="2876220616" sldId="1562"/>
            <ac:picMk id="44" creationId="{1D01778B-A80F-4B80-9F62-2880012FA55D}"/>
          </ac:picMkLst>
        </pc:picChg>
        <pc:cxnChg chg="add mod">
          <ac:chgData name="Soraya San Rojas" userId="ee699595-9862-4f38-82a0-7140b1d27971" providerId="ADAL" clId="{24C387E1-0483-416D-88B8-0C8D9FE5A487}" dt="2023-04-19T21:50:38.307" v="7460" actId="1076"/>
          <ac:cxnSpMkLst>
            <pc:docMk/>
            <pc:sldMk cId="2876220616" sldId="1562"/>
            <ac:cxnSpMk id="10" creationId="{2EC6CF75-240D-4FB2-8A34-511CDCF1A815}"/>
          </ac:cxnSpMkLst>
        </pc:cxnChg>
        <pc:cxnChg chg="add del mod">
          <ac:chgData name="Soraya San Rojas" userId="ee699595-9862-4f38-82a0-7140b1d27971" providerId="ADAL" clId="{24C387E1-0483-416D-88B8-0C8D9FE5A487}" dt="2023-04-19T21:15:36.643" v="4929" actId="478"/>
          <ac:cxnSpMkLst>
            <pc:docMk/>
            <pc:sldMk cId="2876220616" sldId="1562"/>
            <ac:cxnSpMk id="12" creationId="{F4D8859A-EFE1-4C34-83F2-676170DA4381}"/>
          </ac:cxnSpMkLst>
        </pc:cxnChg>
        <pc:cxnChg chg="add del mod">
          <ac:chgData name="Soraya San Rojas" userId="ee699595-9862-4f38-82a0-7140b1d27971" providerId="ADAL" clId="{24C387E1-0483-416D-88B8-0C8D9FE5A487}" dt="2023-04-19T21:15:34.253" v="4928" actId="478"/>
          <ac:cxnSpMkLst>
            <pc:docMk/>
            <pc:sldMk cId="2876220616" sldId="1562"/>
            <ac:cxnSpMk id="13" creationId="{0DFFA591-BC35-4544-BBF9-D197AA8266EB}"/>
          </ac:cxnSpMkLst>
        </pc:cxnChg>
        <pc:cxnChg chg="add mod">
          <ac:chgData name="Soraya San Rojas" userId="ee699595-9862-4f38-82a0-7140b1d27971" providerId="ADAL" clId="{24C387E1-0483-416D-88B8-0C8D9FE5A487}" dt="2023-04-19T21:50:38.307" v="7460" actId="1076"/>
          <ac:cxnSpMkLst>
            <pc:docMk/>
            <pc:sldMk cId="2876220616" sldId="1562"/>
            <ac:cxnSpMk id="15" creationId="{3C926A36-C635-4E80-ABD7-82D3BFFDABFE}"/>
          </ac:cxnSpMkLst>
        </pc:cxnChg>
        <pc:cxnChg chg="add mod">
          <ac:chgData name="Soraya San Rojas" userId="ee699595-9862-4f38-82a0-7140b1d27971" providerId="ADAL" clId="{24C387E1-0483-416D-88B8-0C8D9FE5A487}" dt="2023-04-19T21:50:38.307" v="7460" actId="1076"/>
          <ac:cxnSpMkLst>
            <pc:docMk/>
            <pc:sldMk cId="2876220616" sldId="1562"/>
            <ac:cxnSpMk id="17" creationId="{5B8BC68E-50B2-490F-9078-1720FEF10F41}"/>
          </ac:cxnSpMkLst>
        </pc:cxnChg>
        <pc:cxnChg chg="add mod">
          <ac:chgData name="Soraya San Rojas" userId="ee699595-9862-4f38-82a0-7140b1d27971" providerId="ADAL" clId="{24C387E1-0483-416D-88B8-0C8D9FE5A487}" dt="2023-04-19T21:50:38.307" v="7460" actId="1076"/>
          <ac:cxnSpMkLst>
            <pc:docMk/>
            <pc:sldMk cId="2876220616" sldId="1562"/>
            <ac:cxnSpMk id="19" creationId="{736864FF-9D6B-427F-B5C8-8B6A8398B45A}"/>
          </ac:cxnSpMkLst>
        </pc:cxnChg>
        <pc:cxnChg chg="add mod">
          <ac:chgData name="Soraya San Rojas" userId="ee699595-9862-4f38-82a0-7140b1d27971" providerId="ADAL" clId="{24C387E1-0483-416D-88B8-0C8D9FE5A487}" dt="2023-04-19T21:50:38.307" v="7460" actId="1076"/>
          <ac:cxnSpMkLst>
            <pc:docMk/>
            <pc:sldMk cId="2876220616" sldId="1562"/>
            <ac:cxnSpMk id="21" creationId="{0B854F2D-8F67-463E-A0C1-5A41CD8EF4A5}"/>
          </ac:cxnSpMkLst>
        </pc:cxnChg>
        <pc:cxnChg chg="add del mod">
          <ac:chgData name="Soraya San Rojas" userId="ee699595-9862-4f38-82a0-7140b1d27971" providerId="ADAL" clId="{24C387E1-0483-416D-88B8-0C8D9FE5A487}" dt="2023-04-19T21:17:50.405" v="5057" actId="478"/>
          <ac:cxnSpMkLst>
            <pc:docMk/>
            <pc:sldMk cId="2876220616" sldId="1562"/>
            <ac:cxnSpMk id="23" creationId="{0F53B58E-B404-4E71-8CEA-B98079BAFAB7}"/>
          </ac:cxnSpMkLst>
        </pc:cxnChg>
        <pc:cxnChg chg="add mod">
          <ac:chgData name="Soraya San Rojas" userId="ee699595-9862-4f38-82a0-7140b1d27971" providerId="ADAL" clId="{24C387E1-0483-416D-88B8-0C8D9FE5A487}" dt="2023-04-19T21:50:38.307" v="7460" actId="1076"/>
          <ac:cxnSpMkLst>
            <pc:docMk/>
            <pc:sldMk cId="2876220616" sldId="1562"/>
            <ac:cxnSpMk id="25" creationId="{BE4AEEF6-5F48-411A-9D0D-0DB87FCDFD3D}"/>
          </ac:cxnSpMkLst>
        </pc:cxnChg>
        <pc:cxnChg chg="add mod">
          <ac:chgData name="Soraya San Rojas" userId="ee699595-9862-4f38-82a0-7140b1d27971" providerId="ADAL" clId="{24C387E1-0483-416D-88B8-0C8D9FE5A487}" dt="2023-04-19T21:50:38.307" v="7460" actId="1076"/>
          <ac:cxnSpMkLst>
            <pc:docMk/>
            <pc:sldMk cId="2876220616" sldId="1562"/>
            <ac:cxnSpMk id="27" creationId="{9CE05AA0-3C10-4BB5-B739-EE5066EBEB98}"/>
          </ac:cxnSpMkLst>
        </pc:cxnChg>
      </pc:sldChg>
    </pc:docChg>
  </pc:docChgLst>
  <pc:docChgLst>
    <pc:chgData name="Soraya San Rojas" userId="ee699595-9862-4f38-82a0-7140b1d27971" providerId="ADAL" clId="{E5A960DC-C9A7-4E05-B331-1D0994A9748D}"/>
    <pc:docChg chg="undo custSel addSld delSld modSld modSection">
      <pc:chgData name="Soraya San Rojas" userId="ee699595-9862-4f38-82a0-7140b1d27971" providerId="ADAL" clId="{E5A960DC-C9A7-4E05-B331-1D0994A9748D}" dt="2023-01-20T15:05:13.783" v="1356" actId="20577"/>
      <pc:docMkLst>
        <pc:docMk/>
      </pc:docMkLst>
      <pc:sldChg chg="modSp mod">
        <pc:chgData name="Soraya San Rojas" userId="ee699595-9862-4f38-82a0-7140b1d27971" providerId="ADAL" clId="{E5A960DC-C9A7-4E05-B331-1D0994A9748D}" dt="2023-01-20T14:54:16.125" v="1087"/>
        <pc:sldMkLst>
          <pc:docMk/>
          <pc:sldMk cId="744808691" sldId="299"/>
        </pc:sldMkLst>
        <pc:spChg chg="mod">
          <ac:chgData name="Soraya San Rojas" userId="ee699595-9862-4f38-82a0-7140b1d27971" providerId="ADAL" clId="{E5A960DC-C9A7-4E05-B331-1D0994A9748D}" dt="2023-01-20T14:54:09.711" v="1086" actId="20577"/>
          <ac:spMkLst>
            <pc:docMk/>
            <pc:sldMk cId="744808691" sldId="299"/>
            <ac:spMk id="10" creationId="{00000000-0000-0000-0000-000000000000}"/>
          </ac:spMkLst>
        </pc:spChg>
        <pc:spChg chg="mod">
          <ac:chgData name="Soraya San Rojas" userId="ee699595-9862-4f38-82a0-7140b1d27971" providerId="ADAL" clId="{E5A960DC-C9A7-4E05-B331-1D0994A9748D}" dt="2023-01-20T14:54:16.125" v="1087"/>
          <ac:spMkLst>
            <pc:docMk/>
            <pc:sldMk cId="744808691" sldId="299"/>
            <ac:spMk id="13" creationId="{00000000-0000-0000-0000-000000000000}"/>
          </ac:spMkLst>
        </pc:spChg>
      </pc:sldChg>
      <pc:sldChg chg="addSp delSp modSp add del mod modClrScheme chgLayout">
        <pc:chgData name="Soraya San Rojas" userId="ee699595-9862-4f38-82a0-7140b1d27971" providerId="ADAL" clId="{E5A960DC-C9A7-4E05-B331-1D0994A9748D}" dt="2023-01-20T14:38:18.044" v="203" actId="21"/>
        <pc:sldMkLst>
          <pc:docMk/>
          <pc:sldMk cId="4277926627" sldId="1536"/>
        </pc:sldMkLst>
        <pc:spChg chg="add del mod ord">
          <ac:chgData name="Soraya San Rojas" userId="ee699595-9862-4f38-82a0-7140b1d27971" providerId="ADAL" clId="{E5A960DC-C9A7-4E05-B331-1D0994A9748D}" dt="2023-01-20T14:15:04.634" v="41" actId="700"/>
          <ac:spMkLst>
            <pc:docMk/>
            <pc:sldMk cId="4277926627" sldId="1536"/>
            <ac:spMk id="2" creationId="{FEF41BA7-77AA-45B4-B00E-D713DE348396}"/>
          </ac:spMkLst>
        </pc:spChg>
        <pc:spChg chg="del mod ord">
          <ac:chgData name="Soraya San Rojas" userId="ee699595-9862-4f38-82a0-7140b1d27971" providerId="ADAL" clId="{E5A960DC-C9A7-4E05-B331-1D0994A9748D}" dt="2023-01-20T14:18:23.901" v="70" actId="478"/>
          <ac:spMkLst>
            <pc:docMk/>
            <pc:sldMk cId="4277926627" sldId="1536"/>
            <ac:spMk id="3" creationId="{69F95CC2-415D-4FFF-8FBA-851043F3BF24}"/>
          </ac:spMkLst>
        </pc:spChg>
        <pc:spChg chg="add del mod ord">
          <ac:chgData name="Soraya San Rojas" userId="ee699595-9862-4f38-82a0-7140b1d27971" providerId="ADAL" clId="{E5A960DC-C9A7-4E05-B331-1D0994A9748D}" dt="2023-01-20T14:14:44.251" v="40" actId="700"/>
          <ac:spMkLst>
            <pc:docMk/>
            <pc:sldMk cId="4277926627" sldId="1536"/>
            <ac:spMk id="4" creationId="{100DBEF7-8A5F-4A9D-BA64-7FBF8286F2AA}"/>
          </ac:spMkLst>
        </pc:spChg>
        <pc:spChg chg="mod ord">
          <ac:chgData name="Soraya San Rojas" userId="ee699595-9862-4f38-82a0-7140b1d27971" providerId="ADAL" clId="{E5A960DC-C9A7-4E05-B331-1D0994A9748D}" dt="2023-01-20T14:15:04.634" v="41" actId="700"/>
          <ac:spMkLst>
            <pc:docMk/>
            <pc:sldMk cId="4277926627" sldId="1536"/>
            <ac:spMk id="5" creationId="{10D000F6-1180-49AA-B536-4A84CB573B70}"/>
          </ac:spMkLst>
        </pc:spChg>
        <pc:spChg chg="add mod ord">
          <ac:chgData name="Soraya San Rojas" userId="ee699595-9862-4f38-82a0-7140b1d27971" providerId="ADAL" clId="{E5A960DC-C9A7-4E05-B331-1D0994A9748D}" dt="2023-01-20T14:19:02.848" v="74" actId="207"/>
          <ac:spMkLst>
            <pc:docMk/>
            <pc:sldMk cId="4277926627" sldId="1536"/>
            <ac:spMk id="6" creationId="{149EA848-6EDC-4645-89F6-FC2087C0C23A}"/>
          </ac:spMkLst>
        </pc:spChg>
        <pc:spChg chg="add del mod ord">
          <ac:chgData name="Soraya San Rojas" userId="ee699595-9862-4f38-82a0-7140b1d27971" providerId="ADAL" clId="{E5A960DC-C9A7-4E05-B331-1D0994A9748D}" dt="2023-01-20T14:18:04.094" v="67" actId="478"/>
          <ac:spMkLst>
            <pc:docMk/>
            <pc:sldMk cId="4277926627" sldId="1536"/>
            <ac:spMk id="7" creationId="{A4240DC4-2AA5-4E73-A430-F0C36D011310}"/>
          </ac:spMkLst>
        </pc:spChg>
        <pc:spChg chg="add del mod ord">
          <ac:chgData name="Soraya San Rojas" userId="ee699595-9862-4f38-82a0-7140b1d27971" providerId="ADAL" clId="{E5A960DC-C9A7-4E05-B331-1D0994A9748D}" dt="2023-01-20T14:38:18.044" v="203" actId="21"/>
          <ac:spMkLst>
            <pc:docMk/>
            <pc:sldMk cId="4277926627" sldId="1536"/>
            <ac:spMk id="8" creationId="{C39F8959-2D00-435C-AEF6-F91F84B40801}"/>
          </ac:spMkLst>
        </pc:spChg>
        <pc:spChg chg="add del mod ord">
          <ac:chgData name="Soraya San Rojas" userId="ee699595-9862-4f38-82a0-7140b1d27971" providerId="ADAL" clId="{E5A960DC-C9A7-4E05-B331-1D0994A9748D}" dt="2023-01-20T14:16:35.465" v="48" actId="21"/>
          <ac:spMkLst>
            <pc:docMk/>
            <pc:sldMk cId="4277926627" sldId="1536"/>
            <ac:spMk id="9" creationId="{1C7C041F-690D-425F-A801-4ADA3470DC27}"/>
          </ac:spMkLst>
        </pc:spChg>
        <pc:spChg chg="add del mod ord">
          <ac:chgData name="Soraya San Rojas" userId="ee699595-9862-4f38-82a0-7140b1d27971" providerId="ADAL" clId="{E5A960DC-C9A7-4E05-B331-1D0994A9748D}" dt="2023-01-20T14:17:16.767" v="55" actId="478"/>
          <ac:spMkLst>
            <pc:docMk/>
            <pc:sldMk cId="4277926627" sldId="1536"/>
            <ac:spMk id="10" creationId="{27796ABB-8B7D-42C8-B7B7-C72191E05CCA}"/>
          </ac:spMkLst>
        </pc:spChg>
        <pc:spChg chg="del mod">
          <ac:chgData name="Soraya San Rojas" userId="ee699595-9862-4f38-82a0-7140b1d27971" providerId="ADAL" clId="{E5A960DC-C9A7-4E05-B331-1D0994A9748D}" dt="2023-01-20T14:17:15.003" v="54" actId="478"/>
          <ac:spMkLst>
            <pc:docMk/>
            <pc:sldMk cId="4277926627" sldId="1536"/>
            <ac:spMk id="13" creationId="{2A0B7CB8-8042-4CA1-9D34-EB705B67FF90}"/>
          </ac:spMkLst>
        </pc:spChg>
        <pc:spChg chg="del mod">
          <ac:chgData name="Soraya San Rojas" userId="ee699595-9862-4f38-82a0-7140b1d27971" providerId="ADAL" clId="{E5A960DC-C9A7-4E05-B331-1D0994A9748D}" dt="2023-01-18T13:49:25.896" v="17"/>
          <ac:spMkLst>
            <pc:docMk/>
            <pc:sldMk cId="4277926627" sldId="1536"/>
            <ac:spMk id="14" creationId="{4796C201-3592-4426-A6EB-9F3E1E60CE90}"/>
          </ac:spMkLst>
        </pc:spChg>
        <pc:spChg chg="add del mod">
          <ac:chgData name="Soraya San Rojas" userId="ee699595-9862-4f38-82a0-7140b1d27971" providerId="ADAL" clId="{E5A960DC-C9A7-4E05-B331-1D0994A9748D}" dt="2023-01-20T14:17:25.352" v="57"/>
          <ac:spMkLst>
            <pc:docMk/>
            <pc:sldMk cId="4277926627" sldId="1536"/>
            <ac:spMk id="17" creationId="{C8BE993C-768F-4864-9E4E-4EC561F727B6}"/>
          </ac:spMkLst>
        </pc:spChg>
        <pc:spChg chg="del mod">
          <ac:chgData name="Soraya San Rojas" userId="ee699595-9862-4f38-82a0-7140b1d27971" providerId="ADAL" clId="{E5A960DC-C9A7-4E05-B331-1D0994A9748D}" dt="2023-01-18T13:49:25.896" v="19"/>
          <ac:spMkLst>
            <pc:docMk/>
            <pc:sldMk cId="4277926627" sldId="1536"/>
            <ac:spMk id="18" creationId="{2F0C4C7A-9FAF-4D6F-AE96-D94966855A04}"/>
          </ac:spMkLst>
        </pc:spChg>
        <pc:picChg chg="del">
          <ac:chgData name="Soraya San Rojas" userId="ee699595-9862-4f38-82a0-7140b1d27971" providerId="ADAL" clId="{E5A960DC-C9A7-4E05-B331-1D0994A9748D}" dt="2023-01-18T13:49:07.193" v="5" actId="478"/>
          <ac:picMkLst>
            <pc:docMk/>
            <pc:sldMk cId="4277926627" sldId="1536"/>
            <ac:picMk id="7" creationId="{C965C3A2-158E-4780-A059-B45DE52756EA}"/>
          </ac:picMkLst>
        </pc:picChg>
        <pc:picChg chg="add del mod">
          <ac:chgData name="Soraya San Rojas" userId="ee699595-9862-4f38-82a0-7140b1d27971" providerId="ADAL" clId="{E5A960DC-C9A7-4E05-B331-1D0994A9748D}" dt="2023-01-20T14:16:18.634" v="45"/>
          <ac:picMkLst>
            <pc:docMk/>
            <pc:sldMk cId="4277926627" sldId="1536"/>
            <ac:picMk id="12" creationId="{06399F68-3ED1-4375-A67F-A7AB27CFB734}"/>
          </ac:picMkLst>
        </pc:picChg>
        <pc:picChg chg="add del mod">
          <ac:chgData name="Soraya San Rojas" userId="ee699595-9862-4f38-82a0-7140b1d27971" providerId="ADAL" clId="{E5A960DC-C9A7-4E05-B331-1D0994A9748D}" dt="2023-01-20T14:16:17.921" v="44"/>
          <ac:picMkLst>
            <pc:docMk/>
            <pc:sldMk cId="4277926627" sldId="1536"/>
            <ac:picMk id="14" creationId="{62E2052E-BFC4-431E-9913-1CA80BF67ADB}"/>
          </ac:picMkLst>
        </pc:picChg>
        <pc:picChg chg="add mod">
          <ac:chgData name="Soraya San Rojas" userId="ee699595-9862-4f38-82a0-7140b1d27971" providerId="ADAL" clId="{E5A960DC-C9A7-4E05-B331-1D0994A9748D}" dt="2023-01-20T14:18:21.504" v="69" actId="1076"/>
          <ac:picMkLst>
            <pc:docMk/>
            <pc:sldMk cId="4277926627" sldId="1536"/>
            <ac:picMk id="15" creationId="{354F1FA9-05DB-460D-9A0D-A05EE0BC2407}"/>
          </ac:picMkLst>
        </pc:picChg>
        <pc:picChg chg="add mod">
          <ac:chgData name="Soraya San Rojas" userId="ee699595-9862-4f38-82a0-7140b1d27971" providerId="ADAL" clId="{E5A960DC-C9A7-4E05-B331-1D0994A9748D}" dt="2023-01-20T14:19:14.917" v="78" actId="1076"/>
          <ac:picMkLst>
            <pc:docMk/>
            <pc:sldMk cId="4277926627" sldId="1536"/>
            <ac:picMk id="16" creationId="{DF16A992-02D0-48F6-AEBE-64C5F77E01B9}"/>
          </ac:picMkLst>
        </pc:picChg>
        <pc:picChg chg="add mod">
          <ac:chgData name="Soraya San Rojas" userId="ee699595-9862-4f38-82a0-7140b1d27971" providerId="ADAL" clId="{E5A960DC-C9A7-4E05-B331-1D0994A9748D}" dt="2023-01-20T14:19:18.022" v="79" actId="1076"/>
          <ac:picMkLst>
            <pc:docMk/>
            <pc:sldMk cId="4277926627" sldId="1536"/>
            <ac:picMk id="18" creationId="{289F8F54-807D-4269-9A2D-D78B2372FF38}"/>
          </ac:picMkLst>
        </pc:picChg>
        <pc:picChg chg="add del">
          <ac:chgData name="Soraya San Rojas" userId="ee699595-9862-4f38-82a0-7140b1d27971" providerId="ADAL" clId="{E5A960DC-C9A7-4E05-B331-1D0994A9748D}" dt="2023-01-20T14:17:46.433" v="64" actId="478"/>
          <ac:picMkLst>
            <pc:docMk/>
            <pc:sldMk cId="4277926627" sldId="1536"/>
            <ac:picMk id="19" creationId="{FA8C959C-D19A-467F-BF39-443CE79DAABB}"/>
          </ac:picMkLst>
        </pc:picChg>
        <pc:picChg chg="add mod">
          <ac:chgData name="Soraya San Rojas" userId="ee699595-9862-4f38-82a0-7140b1d27971" providerId="ADAL" clId="{E5A960DC-C9A7-4E05-B331-1D0994A9748D}" dt="2023-01-20T14:19:20.637" v="80" actId="1076"/>
          <ac:picMkLst>
            <pc:docMk/>
            <pc:sldMk cId="4277926627" sldId="1536"/>
            <ac:picMk id="20" creationId="{CD9BC2FE-6EF6-401F-8FFB-452B6CA76443}"/>
          </ac:picMkLst>
        </pc:picChg>
        <pc:picChg chg="add mod">
          <ac:chgData name="Soraya San Rojas" userId="ee699595-9862-4f38-82a0-7140b1d27971" providerId="ADAL" clId="{E5A960DC-C9A7-4E05-B331-1D0994A9748D}" dt="2023-01-20T14:19:56.364" v="89" actId="1076"/>
          <ac:picMkLst>
            <pc:docMk/>
            <pc:sldMk cId="4277926627" sldId="1536"/>
            <ac:picMk id="21" creationId="{417DD77C-0C7D-4780-A807-4D0945986588}"/>
          </ac:picMkLst>
        </pc:picChg>
      </pc:sldChg>
      <pc:sldChg chg="add del">
        <pc:chgData name="Soraya San Rojas" userId="ee699595-9862-4f38-82a0-7140b1d27971" providerId="ADAL" clId="{E5A960DC-C9A7-4E05-B331-1D0994A9748D}" dt="2023-01-18T13:49:02.417" v="4" actId="47"/>
        <pc:sldMkLst>
          <pc:docMk/>
          <pc:sldMk cId="1754616175" sldId="1543"/>
        </pc:sldMkLst>
      </pc:sldChg>
      <pc:sldChg chg="add del">
        <pc:chgData name="Soraya San Rojas" userId="ee699595-9862-4f38-82a0-7140b1d27971" providerId="ADAL" clId="{E5A960DC-C9A7-4E05-B331-1D0994A9748D}" dt="2023-01-18T13:49:02.417" v="4" actId="47"/>
        <pc:sldMkLst>
          <pc:docMk/>
          <pc:sldMk cId="1340421614" sldId="1545"/>
        </pc:sldMkLst>
      </pc:sldChg>
      <pc:sldChg chg="add del">
        <pc:chgData name="Soraya San Rojas" userId="ee699595-9862-4f38-82a0-7140b1d27971" providerId="ADAL" clId="{E5A960DC-C9A7-4E05-B331-1D0994A9748D}" dt="2023-01-18T13:49:02.417" v="4" actId="47"/>
        <pc:sldMkLst>
          <pc:docMk/>
          <pc:sldMk cId="1244292169" sldId="1546"/>
        </pc:sldMkLst>
      </pc:sldChg>
      <pc:sldChg chg="add del">
        <pc:chgData name="Soraya San Rojas" userId="ee699595-9862-4f38-82a0-7140b1d27971" providerId="ADAL" clId="{E5A960DC-C9A7-4E05-B331-1D0994A9748D}" dt="2023-01-18T13:49:02.417" v="4" actId="47"/>
        <pc:sldMkLst>
          <pc:docMk/>
          <pc:sldMk cId="2123438144" sldId="1547"/>
        </pc:sldMkLst>
      </pc:sldChg>
      <pc:sldChg chg="add del">
        <pc:chgData name="Soraya San Rojas" userId="ee699595-9862-4f38-82a0-7140b1d27971" providerId="ADAL" clId="{E5A960DC-C9A7-4E05-B331-1D0994A9748D}" dt="2023-01-18T13:49:02.417" v="4" actId="47"/>
        <pc:sldMkLst>
          <pc:docMk/>
          <pc:sldMk cId="2608779450" sldId="1548"/>
        </pc:sldMkLst>
      </pc:sldChg>
      <pc:sldChg chg="add del">
        <pc:chgData name="Soraya San Rojas" userId="ee699595-9862-4f38-82a0-7140b1d27971" providerId="ADAL" clId="{E5A960DC-C9A7-4E05-B331-1D0994A9748D}" dt="2023-01-18T13:49:02.417" v="4" actId="47"/>
        <pc:sldMkLst>
          <pc:docMk/>
          <pc:sldMk cId="48134574" sldId="1549"/>
        </pc:sldMkLst>
      </pc:sldChg>
      <pc:sldChg chg="add del">
        <pc:chgData name="Soraya San Rojas" userId="ee699595-9862-4f38-82a0-7140b1d27971" providerId="ADAL" clId="{E5A960DC-C9A7-4E05-B331-1D0994A9748D}" dt="2023-01-18T13:49:02.417" v="4" actId="47"/>
        <pc:sldMkLst>
          <pc:docMk/>
          <pc:sldMk cId="1714108183" sldId="1550"/>
        </pc:sldMkLst>
      </pc:sldChg>
      <pc:sldChg chg="add del">
        <pc:chgData name="Soraya San Rojas" userId="ee699595-9862-4f38-82a0-7140b1d27971" providerId="ADAL" clId="{E5A960DC-C9A7-4E05-B331-1D0994A9748D}" dt="2023-01-18T13:49:02.417" v="4" actId="47"/>
        <pc:sldMkLst>
          <pc:docMk/>
          <pc:sldMk cId="3089176527" sldId="1551"/>
        </pc:sldMkLst>
      </pc:sldChg>
      <pc:sldChg chg="modSp mod">
        <pc:chgData name="Soraya San Rojas" userId="ee699595-9862-4f38-82a0-7140b1d27971" providerId="ADAL" clId="{E5A960DC-C9A7-4E05-B331-1D0994A9748D}" dt="2023-01-20T14:54:23.466" v="1088"/>
        <pc:sldMkLst>
          <pc:docMk/>
          <pc:sldMk cId="2834590880" sldId="1552"/>
        </pc:sldMkLst>
        <pc:spChg chg="mod">
          <ac:chgData name="Soraya San Rojas" userId="ee699595-9862-4f38-82a0-7140b1d27971" providerId="ADAL" clId="{E5A960DC-C9A7-4E05-B331-1D0994A9748D}" dt="2023-01-20T14:54:23.466" v="1088"/>
          <ac:spMkLst>
            <pc:docMk/>
            <pc:sldMk cId="2834590880" sldId="1552"/>
            <ac:spMk id="13" creationId="{00000000-0000-0000-0000-000000000000}"/>
          </ac:spMkLst>
        </pc:spChg>
      </pc:sldChg>
      <pc:sldChg chg="new del">
        <pc:chgData name="Soraya San Rojas" userId="ee699595-9862-4f38-82a0-7140b1d27971" providerId="ADAL" clId="{E5A960DC-C9A7-4E05-B331-1D0994A9748D}" dt="2023-01-18T13:48:56.239" v="2" actId="680"/>
        <pc:sldMkLst>
          <pc:docMk/>
          <pc:sldMk cId="8365430" sldId="1553"/>
        </pc:sldMkLst>
      </pc:sldChg>
      <pc:sldChg chg="addSp delSp modSp new mod">
        <pc:chgData name="Soraya San Rojas" userId="ee699595-9862-4f38-82a0-7140b1d27971" providerId="ADAL" clId="{E5A960DC-C9A7-4E05-B331-1D0994A9748D}" dt="2023-01-20T15:05:13.783" v="1356" actId="20577"/>
        <pc:sldMkLst>
          <pc:docMk/>
          <pc:sldMk cId="2707389613" sldId="1553"/>
        </pc:sldMkLst>
        <pc:spChg chg="mod">
          <ac:chgData name="Soraya San Rojas" userId="ee699595-9862-4f38-82a0-7140b1d27971" providerId="ADAL" clId="{E5A960DC-C9A7-4E05-B331-1D0994A9748D}" dt="2023-01-20T14:50:05.099" v="716" actId="20577"/>
          <ac:spMkLst>
            <pc:docMk/>
            <pc:sldMk cId="2707389613" sldId="1553"/>
            <ac:spMk id="2" creationId="{2E5ED3DE-F2FA-462C-B6F3-6AA2243B0878}"/>
          </ac:spMkLst>
        </pc:spChg>
        <pc:spChg chg="mod">
          <ac:chgData name="Soraya San Rojas" userId="ee699595-9862-4f38-82a0-7140b1d27971" providerId="ADAL" clId="{E5A960DC-C9A7-4E05-B331-1D0994A9748D}" dt="2023-01-20T14:53:37.893" v="1043" actId="20577"/>
          <ac:spMkLst>
            <pc:docMk/>
            <pc:sldMk cId="2707389613" sldId="1553"/>
            <ac:spMk id="3" creationId="{FF170AA1-B9DB-46D4-A7E0-EDC63F229A64}"/>
          </ac:spMkLst>
        </pc:spChg>
        <pc:spChg chg="mod">
          <ac:chgData name="Soraya San Rojas" userId="ee699595-9862-4f38-82a0-7140b1d27971" providerId="ADAL" clId="{E5A960DC-C9A7-4E05-B331-1D0994A9748D}" dt="2023-01-20T14:50:22.267" v="736" actId="20577"/>
          <ac:spMkLst>
            <pc:docMk/>
            <pc:sldMk cId="2707389613" sldId="1553"/>
            <ac:spMk id="4" creationId="{BC2FE427-123B-4555-8D25-6A678BC916D0}"/>
          </ac:spMkLst>
        </pc:spChg>
        <pc:spChg chg="mod">
          <ac:chgData name="Soraya San Rojas" userId="ee699595-9862-4f38-82a0-7140b1d27971" providerId="ADAL" clId="{E5A960DC-C9A7-4E05-B331-1D0994A9748D}" dt="2023-01-20T14:49:18.964" v="691" actId="14100"/>
          <ac:spMkLst>
            <pc:docMk/>
            <pc:sldMk cId="2707389613" sldId="1553"/>
            <ac:spMk id="6" creationId="{EF3AF165-E0B5-4C2F-BD52-1E80F7C03015}"/>
          </ac:spMkLst>
        </pc:spChg>
        <pc:spChg chg="mod">
          <ac:chgData name="Soraya San Rojas" userId="ee699595-9862-4f38-82a0-7140b1d27971" providerId="ADAL" clId="{E5A960DC-C9A7-4E05-B331-1D0994A9748D}" dt="2023-01-20T14:56:23.836" v="1130" actId="1076"/>
          <ac:spMkLst>
            <pc:docMk/>
            <pc:sldMk cId="2707389613" sldId="1553"/>
            <ac:spMk id="7" creationId="{6B6094A2-56AC-4D04-A55F-FDBE11ADB114}"/>
          </ac:spMkLst>
        </pc:spChg>
        <pc:spChg chg="del">
          <ac:chgData name="Soraya San Rojas" userId="ee699595-9862-4f38-82a0-7140b1d27971" providerId="ADAL" clId="{E5A960DC-C9A7-4E05-B331-1D0994A9748D}" dt="2023-01-20T14:37:58.333" v="199" actId="478"/>
          <ac:spMkLst>
            <pc:docMk/>
            <pc:sldMk cId="2707389613" sldId="1553"/>
            <ac:spMk id="8" creationId="{267F0F4F-4C22-4168-BFB0-266F1F7BF8A0}"/>
          </ac:spMkLst>
        </pc:spChg>
        <pc:spChg chg="del">
          <ac:chgData name="Soraya San Rojas" userId="ee699595-9862-4f38-82a0-7140b1d27971" providerId="ADAL" clId="{E5A960DC-C9A7-4E05-B331-1D0994A9748D}" dt="2023-01-20T14:38:05.995" v="201" actId="478"/>
          <ac:spMkLst>
            <pc:docMk/>
            <pc:sldMk cId="2707389613" sldId="1553"/>
            <ac:spMk id="9" creationId="{11801E1C-9A8D-4CEC-8703-47F9F0667E0F}"/>
          </ac:spMkLst>
        </pc:spChg>
        <pc:spChg chg="add mod">
          <ac:chgData name="Soraya San Rojas" userId="ee699595-9862-4f38-82a0-7140b1d27971" providerId="ADAL" clId="{E5A960DC-C9A7-4E05-B331-1D0994A9748D}" dt="2023-01-20T15:05:13.783" v="1356" actId="20577"/>
          <ac:spMkLst>
            <pc:docMk/>
            <pc:sldMk cId="2707389613" sldId="1553"/>
            <ac:spMk id="10" creationId="{209C368B-49A5-4D60-B254-2E8467A1E073}"/>
          </ac:spMkLst>
        </pc:spChg>
        <pc:spChg chg="add mod">
          <ac:chgData name="Soraya San Rojas" userId="ee699595-9862-4f38-82a0-7140b1d27971" providerId="ADAL" clId="{E5A960DC-C9A7-4E05-B331-1D0994A9748D}" dt="2023-01-20T15:04:41.821" v="1323" actId="1076"/>
          <ac:spMkLst>
            <pc:docMk/>
            <pc:sldMk cId="2707389613" sldId="1553"/>
            <ac:spMk id="11" creationId="{B14E36D1-BC01-46F2-9198-C5BFE3BC5B2E}"/>
          </ac:spMkLst>
        </pc:spChg>
        <pc:spChg chg="add mod">
          <ac:chgData name="Soraya San Rojas" userId="ee699595-9862-4f38-82a0-7140b1d27971" providerId="ADAL" clId="{E5A960DC-C9A7-4E05-B331-1D0994A9748D}" dt="2023-01-20T14:49:30.645" v="694" actId="1076"/>
          <ac:spMkLst>
            <pc:docMk/>
            <pc:sldMk cId="2707389613" sldId="1553"/>
            <ac:spMk id="12" creationId="{97B82B85-4019-45BC-A100-475EF783AE05}"/>
          </ac:spMkLst>
        </pc:spChg>
        <pc:spChg chg="add mod">
          <ac:chgData name="Soraya San Rojas" userId="ee699595-9862-4f38-82a0-7140b1d27971" providerId="ADAL" clId="{E5A960DC-C9A7-4E05-B331-1D0994A9748D}" dt="2023-01-20T15:04:49.869" v="1324" actId="1076"/>
          <ac:spMkLst>
            <pc:docMk/>
            <pc:sldMk cId="2707389613" sldId="1553"/>
            <ac:spMk id="13" creationId="{21767817-6566-4AD2-AB40-03AD923A13D0}"/>
          </ac:spMkLst>
        </pc:spChg>
        <pc:spChg chg="add mod">
          <ac:chgData name="Soraya San Rojas" userId="ee699595-9862-4f38-82a0-7140b1d27971" providerId="ADAL" clId="{E5A960DC-C9A7-4E05-B331-1D0994A9748D}" dt="2023-01-20T15:04:55.244" v="1325" actId="1076"/>
          <ac:spMkLst>
            <pc:docMk/>
            <pc:sldMk cId="2707389613" sldId="1553"/>
            <ac:spMk id="14" creationId="{3BDB075E-ACC1-40B1-8181-5142A45859DD}"/>
          </ac:spMkLst>
        </pc:spChg>
      </pc:sldChg>
      <pc:sldChg chg="new">
        <pc:chgData name="Soraya San Rojas" userId="ee699595-9862-4f38-82a0-7140b1d27971" providerId="ADAL" clId="{E5A960DC-C9A7-4E05-B331-1D0994A9748D}" dt="2023-01-20T14:55:30.046" v="1129" actId="680"/>
        <pc:sldMkLst>
          <pc:docMk/>
          <pc:sldMk cId="163048909" sldId="1554"/>
        </pc:sldMkLst>
      </pc:sldChg>
    </pc:docChg>
  </pc:docChgLst>
  <pc:docChgLst>
    <pc:chgData name="Soraya San Rojas" userId="ee699595-9862-4f38-82a0-7140b1d27971" providerId="ADAL" clId="{CDF611C4-6206-4A0B-A17A-8F9AFB4DA93A}"/>
    <pc:docChg chg="undo redo custSel modSld">
      <pc:chgData name="Soraya San Rojas" userId="ee699595-9862-4f38-82a0-7140b1d27971" providerId="ADAL" clId="{CDF611C4-6206-4A0B-A17A-8F9AFB4DA93A}" dt="2023-01-17T15:34:30.866" v="164" actId="20577"/>
      <pc:docMkLst>
        <pc:docMk/>
      </pc:docMkLst>
      <pc:sldChg chg="modSp mod">
        <pc:chgData name="Soraya San Rojas" userId="ee699595-9862-4f38-82a0-7140b1d27971" providerId="ADAL" clId="{CDF611C4-6206-4A0B-A17A-8F9AFB4DA93A}" dt="2023-01-09T21:02:06.795" v="7" actId="20577"/>
        <pc:sldMkLst>
          <pc:docMk/>
          <pc:sldMk cId="744808691" sldId="299"/>
        </pc:sldMkLst>
        <pc:spChg chg="mod">
          <ac:chgData name="Soraya San Rojas" userId="ee699595-9862-4f38-82a0-7140b1d27971" providerId="ADAL" clId="{CDF611C4-6206-4A0B-A17A-8F9AFB4DA93A}" dt="2023-01-09T21:02:06.795" v="7" actId="20577"/>
          <ac:spMkLst>
            <pc:docMk/>
            <pc:sldMk cId="744808691" sldId="299"/>
            <ac:spMk id="10" creationId="{00000000-0000-0000-0000-000000000000}"/>
          </ac:spMkLst>
        </pc:spChg>
        <pc:spChg chg="mod">
          <ac:chgData name="Soraya San Rojas" userId="ee699595-9862-4f38-82a0-7140b1d27971" providerId="ADAL" clId="{CDF611C4-6206-4A0B-A17A-8F9AFB4DA93A}" dt="2023-01-09T21:02:04.009" v="5" actId="20577"/>
          <ac:spMkLst>
            <pc:docMk/>
            <pc:sldMk cId="744808691" sldId="299"/>
            <ac:spMk id="13" creationId="{00000000-0000-0000-0000-000000000000}"/>
          </ac:spMkLst>
        </pc:spChg>
      </pc:sldChg>
      <pc:sldChg chg="modSp mod">
        <pc:chgData name="Soraya San Rojas" userId="ee699595-9862-4f38-82a0-7140b1d27971" providerId="ADAL" clId="{CDF611C4-6206-4A0B-A17A-8F9AFB4DA93A}" dt="2023-01-17T15:34:30.866" v="164" actId="20577"/>
        <pc:sldMkLst>
          <pc:docMk/>
          <pc:sldMk cId="4277926627" sldId="1536"/>
        </pc:sldMkLst>
        <pc:spChg chg="mod">
          <ac:chgData name="Soraya San Rojas" userId="ee699595-9862-4f38-82a0-7140b1d27971" providerId="ADAL" clId="{CDF611C4-6206-4A0B-A17A-8F9AFB4DA93A}" dt="2023-01-17T15:34:30.866" v="164" actId="20577"/>
          <ac:spMkLst>
            <pc:docMk/>
            <pc:sldMk cId="4277926627" sldId="1536"/>
            <ac:spMk id="3" creationId="{69F95CC2-415D-4FFF-8FBA-851043F3BF24}"/>
          </ac:spMkLst>
        </pc:spChg>
      </pc:sldChg>
      <pc:sldChg chg="modSp mod">
        <pc:chgData name="Soraya San Rojas" userId="ee699595-9862-4f38-82a0-7140b1d27971" providerId="ADAL" clId="{CDF611C4-6206-4A0B-A17A-8F9AFB4DA93A}" dt="2023-01-10T14:45:31.135" v="87" actId="20577"/>
        <pc:sldMkLst>
          <pc:docMk/>
          <pc:sldMk cId="1754616175" sldId="1543"/>
        </pc:sldMkLst>
        <pc:spChg chg="mod">
          <ac:chgData name="Soraya San Rojas" userId="ee699595-9862-4f38-82a0-7140b1d27971" providerId="ADAL" clId="{CDF611C4-6206-4A0B-A17A-8F9AFB4DA93A}" dt="2023-01-10T14:45:31.135" v="87" actId="20577"/>
          <ac:spMkLst>
            <pc:docMk/>
            <pc:sldMk cId="1754616175" sldId="1543"/>
            <ac:spMk id="4" creationId="{F84F678D-F2ED-4F39-9807-937C895F6270}"/>
          </ac:spMkLst>
        </pc:spChg>
      </pc:sldChg>
      <pc:sldChg chg="delSp modSp mod">
        <pc:chgData name="Soraya San Rojas" userId="ee699595-9862-4f38-82a0-7140b1d27971" providerId="ADAL" clId="{CDF611C4-6206-4A0B-A17A-8F9AFB4DA93A}" dt="2023-01-12T20:27:14.818" v="120"/>
        <pc:sldMkLst>
          <pc:docMk/>
          <pc:sldMk cId="1340421614" sldId="1545"/>
        </pc:sldMkLst>
        <pc:spChg chg="mod">
          <ac:chgData name="Soraya San Rojas" userId="ee699595-9862-4f38-82a0-7140b1d27971" providerId="ADAL" clId="{CDF611C4-6206-4A0B-A17A-8F9AFB4DA93A}" dt="2023-01-12T20:26:38.094" v="118" actId="1076"/>
          <ac:spMkLst>
            <pc:docMk/>
            <pc:sldMk cId="1340421614" sldId="1545"/>
            <ac:spMk id="2" creationId="{50CEABB1-FF83-4393-9755-DE1A39C0F4BE}"/>
          </ac:spMkLst>
        </pc:spChg>
        <pc:spChg chg="mod">
          <ac:chgData name="Soraya San Rojas" userId="ee699595-9862-4f38-82a0-7140b1d27971" providerId="ADAL" clId="{CDF611C4-6206-4A0B-A17A-8F9AFB4DA93A}" dt="2023-01-10T14:45:22.239" v="85" actId="20577"/>
          <ac:spMkLst>
            <pc:docMk/>
            <pc:sldMk cId="1340421614" sldId="1545"/>
            <ac:spMk id="4" creationId="{FDFA0E4D-7B65-491B-8820-EF8A63C21151}"/>
          </ac:spMkLst>
        </pc:spChg>
        <pc:graphicFrameChg chg="mod">
          <ac:chgData name="Soraya San Rojas" userId="ee699595-9862-4f38-82a0-7140b1d27971" providerId="ADAL" clId="{CDF611C4-6206-4A0B-A17A-8F9AFB4DA93A}" dt="2023-01-12T20:27:14.795" v="119"/>
          <ac:graphicFrameMkLst>
            <pc:docMk/>
            <pc:sldMk cId="1340421614" sldId="1545"/>
            <ac:graphicFrameMk id="3" creationId="{1E11B6B7-38BC-490C-8798-2D4FFBBBC880}"/>
          </ac:graphicFrameMkLst>
        </pc:graphicFrameChg>
        <pc:graphicFrameChg chg="del">
          <ac:chgData name="Soraya San Rojas" userId="ee699595-9862-4f38-82a0-7140b1d27971" providerId="ADAL" clId="{CDF611C4-6206-4A0B-A17A-8F9AFB4DA93A}" dt="2023-01-12T20:24:26.124" v="88" actId="478"/>
          <ac:graphicFrameMkLst>
            <pc:docMk/>
            <pc:sldMk cId="1340421614" sldId="1545"/>
            <ac:graphicFrameMk id="6" creationId="{93712742-D784-44A0-84ED-76A41AC8E1E3}"/>
          </ac:graphicFrameMkLst>
        </pc:graphicFrameChg>
        <pc:graphicFrameChg chg="mod">
          <ac:chgData name="Soraya San Rojas" userId="ee699595-9862-4f38-82a0-7140b1d27971" providerId="ADAL" clId="{CDF611C4-6206-4A0B-A17A-8F9AFB4DA93A}" dt="2023-01-12T20:27:14.818" v="120"/>
          <ac:graphicFrameMkLst>
            <pc:docMk/>
            <pc:sldMk cId="1340421614" sldId="1545"/>
            <ac:graphicFrameMk id="7" creationId="{A5E04689-8202-45F3-8E3B-DF9B4444F933}"/>
          </ac:graphicFrameMkLst>
        </pc:graphicFrameChg>
        <pc:graphicFrameChg chg="del">
          <ac:chgData name="Soraya San Rojas" userId="ee699595-9862-4f38-82a0-7140b1d27971" providerId="ADAL" clId="{CDF611C4-6206-4A0B-A17A-8F9AFB4DA93A}" dt="2023-01-12T20:25:05.727" v="95" actId="478"/>
          <ac:graphicFrameMkLst>
            <pc:docMk/>
            <pc:sldMk cId="1340421614" sldId="1545"/>
            <ac:graphicFrameMk id="9" creationId="{498287FF-E783-48B0-94D2-9E1C7B043ECE}"/>
          </ac:graphicFrameMkLst>
        </pc:graphicFrameChg>
      </pc:sldChg>
      <pc:sldChg chg="modSp mod">
        <pc:chgData name="Soraya San Rojas" userId="ee699595-9862-4f38-82a0-7140b1d27971" providerId="ADAL" clId="{CDF611C4-6206-4A0B-A17A-8F9AFB4DA93A}" dt="2023-01-10T14:45:13.282" v="81" actId="20577"/>
        <pc:sldMkLst>
          <pc:docMk/>
          <pc:sldMk cId="1244292169" sldId="1546"/>
        </pc:sldMkLst>
        <pc:spChg chg="mod">
          <ac:chgData name="Soraya San Rojas" userId="ee699595-9862-4f38-82a0-7140b1d27971" providerId="ADAL" clId="{CDF611C4-6206-4A0B-A17A-8F9AFB4DA93A}" dt="2023-01-10T14:45:13.282" v="81" actId="20577"/>
          <ac:spMkLst>
            <pc:docMk/>
            <pc:sldMk cId="1244292169" sldId="1546"/>
            <ac:spMk id="4" creationId="{135FD0D8-5774-4A96-8257-87EFBA5739C6}"/>
          </ac:spMkLst>
        </pc:spChg>
      </pc:sldChg>
      <pc:sldChg chg="delSp modSp mod">
        <pc:chgData name="Soraya San Rojas" userId="ee699595-9862-4f38-82a0-7140b1d27971" providerId="ADAL" clId="{CDF611C4-6206-4A0B-A17A-8F9AFB4DA93A}" dt="2023-01-17T13:02:38.202" v="160" actId="478"/>
        <pc:sldMkLst>
          <pc:docMk/>
          <pc:sldMk cId="2123438144" sldId="1547"/>
        </pc:sldMkLst>
        <pc:spChg chg="mod">
          <ac:chgData name="Soraya San Rojas" userId="ee699595-9862-4f38-82a0-7140b1d27971" providerId="ADAL" clId="{CDF611C4-6206-4A0B-A17A-8F9AFB4DA93A}" dt="2023-01-10T14:45:17.965" v="83" actId="20577"/>
          <ac:spMkLst>
            <pc:docMk/>
            <pc:sldMk cId="2123438144" sldId="1547"/>
            <ac:spMk id="3" creationId="{D94B8522-216A-491F-8EF5-B7EE251B7B97}"/>
          </ac:spMkLst>
        </pc:spChg>
        <pc:spChg chg="mod">
          <ac:chgData name="Soraya San Rojas" userId="ee699595-9862-4f38-82a0-7140b1d27971" providerId="ADAL" clId="{CDF611C4-6206-4A0B-A17A-8F9AFB4DA93A}" dt="2023-01-13T18:32:44.794" v="159" actId="20577"/>
          <ac:spMkLst>
            <pc:docMk/>
            <pc:sldMk cId="2123438144" sldId="1547"/>
            <ac:spMk id="5" creationId="{C04944CA-E6BE-431C-9557-97156F18ECF9}"/>
          </ac:spMkLst>
        </pc:spChg>
        <pc:graphicFrameChg chg="del">
          <ac:chgData name="Soraya San Rojas" userId="ee699595-9862-4f38-82a0-7140b1d27971" providerId="ADAL" clId="{CDF611C4-6206-4A0B-A17A-8F9AFB4DA93A}" dt="2023-01-13T18:31:37.569" v="151" actId="478"/>
          <ac:graphicFrameMkLst>
            <pc:docMk/>
            <pc:sldMk cId="2123438144" sldId="1547"/>
            <ac:graphicFrameMk id="2" creationId="{A60021DA-25B7-4B40-91C0-11BF8327A927}"/>
          </ac:graphicFrameMkLst>
        </pc:graphicFrameChg>
        <pc:graphicFrameChg chg="del mod">
          <ac:chgData name="Soraya San Rojas" userId="ee699595-9862-4f38-82a0-7140b1d27971" providerId="ADAL" clId="{CDF611C4-6206-4A0B-A17A-8F9AFB4DA93A}" dt="2023-01-17T13:02:38.202" v="160" actId="478"/>
          <ac:graphicFrameMkLst>
            <pc:docMk/>
            <pc:sldMk cId="2123438144" sldId="1547"/>
            <ac:graphicFrameMk id="7" creationId="{A029389A-7F6A-4189-9862-ECFA64B9C209}"/>
          </ac:graphicFrameMkLst>
        </pc:graphicFrameChg>
        <pc:graphicFrameChg chg="del">
          <ac:chgData name="Soraya San Rojas" userId="ee699595-9862-4f38-82a0-7140b1d27971" providerId="ADAL" clId="{CDF611C4-6206-4A0B-A17A-8F9AFB4DA93A}" dt="2023-01-13T18:31:17.713" v="148" actId="478"/>
          <ac:graphicFrameMkLst>
            <pc:docMk/>
            <pc:sldMk cId="2123438144" sldId="1547"/>
            <ac:graphicFrameMk id="9" creationId="{E8CD2AED-0F7A-46B4-8127-E625EA99D05E}"/>
          </ac:graphicFrameMkLst>
        </pc:graphicFrameChg>
        <pc:picChg chg="del">
          <ac:chgData name="Soraya San Rojas" userId="ee699595-9862-4f38-82a0-7140b1d27971" providerId="ADAL" clId="{CDF611C4-6206-4A0B-A17A-8F9AFB4DA93A}" dt="2023-01-13T18:32:30.577" v="155" actId="478"/>
          <ac:picMkLst>
            <pc:docMk/>
            <pc:sldMk cId="2123438144" sldId="1547"/>
            <ac:picMk id="6" creationId="{C53FD5D6-5F90-4005-8C72-CB825B37C9F6}"/>
          </ac:picMkLst>
        </pc:picChg>
      </pc:sldChg>
      <pc:sldChg chg="modSp mod">
        <pc:chgData name="Soraya San Rojas" userId="ee699595-9862-4f38-82a0-7140b1d27971" providerId="ADAL" clId="{CDF611C4-6206-4A0B-A17A-8F9AFB4DA93A}" dt="2023-01-10T14:45:08.758" v="79" actId="20577"/>
        <pc:sldMkLst>
          <pc:docMk/>
          <pc:sldMk cId="2608779450" sldId="1548"/>
        </pc:sldMkLst>
        <pc:spChg chg="mod">
          <ac:chgData name="Soraya San Rojas" userId="ee699595-9862-4f38-82a0-7140b1d27971" providerId="ADAL" clId="{CDF611C4-6206-4A0B-A17A-8F9AFB4DA93A}" dt="2023-01-10T14:45:08.758" v="79" actId="20577"/>
          <ac:spMkLst>
            <pc:docMk/>
            <pc:sldMk cId="2608779450" sldId="1548"/>
            <ac:spMk id="3" creationId="{CDD7FCA1-69DB-4322-9895-49589F4D2B11}"/>
          </ac:spMkLst>
        </pc:spChg>
      </pc:sldChg>
      <pc:sldChg chg="addSp delSp modSp mod">
        <pc:chgData name="Soraya San Rojas" userId="ee699595-9862-4f38-82a0-7140b1d27971" providerId="ADAL" clId="{CDF611C4-6206-4A0B-A17A-8F9AFB4DA93A}" dt="2023-01-12T20:56:24.897" v="147" actId="167"/>
        <pc:sldMkLst>
          <pc:docMk/>
          <pc:sldMk cId="48134574" sldId="1549"/>
        </pc:sldMkLst>
        <pc:spChg chg="mod">
          <ac:chgData name="Soraya San Rojas" userId="ee699595-9862-4f38-82a0-7140b1d27971" providerId="ADAL" clId="{CDF611C4-6206-4A0B-A17A-8F9AFB4DA93A}" dt="2023-01-10T14:45:00.262" v="75" actId="20577"/>
          <ac:spMkLst>
            <pc:docMk/>
            <pc:sldMk cId="48134574" sldId="1549"/>
            <ac:spMk id="3" creationId="{B7401463-1B77-4EF6-89C2-7482CFCF3186}"/>
          </ac:spMkLst>
        </pc:spChg>
        <pc:spChg chg="mod">
          <ac:chgData name="Soraya San Rojas" userId="ee699595-9862-4f38-82a0-7140b1d27971" providerId="ADAL" clId="{CDF611C4-6206-4A0B-A17A-8F9AFB4DA93A}" dt="2023-01-12T20:43:52.061" v="123" actId="20577"/>
          <ac:spMkLst>
            <pc:docMk/>
            <pc:sldMk cId="48134574" sldId="1549"/>
            <ac:spMk id="5" creationId="{346FD1C2-9AE4-49C8-92CC-8EF4C86315C3}"/>
          </ac:spMkLst>
        </pc:spChg>
        <pc:graphicFrameChg chg="del">
          <ac:chgData name="Soraya San Rojas" userId="ee699595-9862-4f38-82a0-7140b1d27971" providerId="ADAL" clId="{CDF611C4-6206-4A0B-A17A-8F9AFB4DA93A}" dt="2023-01-12T20:49:58.874" v="124" actId="478"/>
          <ac:graphicFrameMkLst>
            <pc:docMk/>
            <pc:sldMk cId="48134574" sldId="1549"/>
            <ac:graphicFrameMk id="6" creationId="{58DC5132-33B0-48FF-9235-D490525FBD4B}"/>
          </ac:graphicFrameMkLst>
        </pc:graphicFrameChg>
        <pc:picChg chg="add mod ord">
          <ac:chgData name="Soraya San Rojas" userId="ee699595-9862-4f38-82a0-7140b1d27971" providerId="ADAL" clId="{CDF611C4-6206-4A0B-A17A-8F9AFB4DA93A}" dt="2023-01-12T20:56:24.897" v="147" actId="167"/>
          <ac:picMkLst>
            <pc:docMk/>
            <pc:sldMk cId="48134574" sldId="1549"/>
            <ac:picMk id="7" creationId="{7D632F79-7753-4606-AB0D-121A4DC38C78}"/>
          </ac:picMkLst>
        </pc:picChg>
      </pc:sldChg>
      <pc:sldChg chg="addSp delSp modSp mod">
        <pc:chgData name="Soraya San Rojas" userId="ee699595-9862-4f38-82a0-7140b1d27971" providerId="ADAL" clId="{CDF611C4-6206-4A0B-A17A-8F9AFB4DA93A}" dt="2023-01-12T20:27:14.840" v="121"/>
        <pc:sldMkLst>
          <pc:docMk/>
          <pc:sldMk cId="1714108183" sldId="1550"/>
        </pc:sldMkLst>
        <pc:spChg chg="mod">
          <ac:chgData name="Soraya San Rojas" userId="ee699595-9862-4f38-82a0-7140b1d27971" providerId="ADAL" clId="{CDF611C4-6206-4A0B-A17A-8F9AFB4DA93A}" dt="2023-01-09T21:01:57.758" v="3" actId="20577"/>
          <ac:spMkLst>
            <pc:docMk/>
            <pc:sldMk cId="1714108183" sldId="1550"/>
            <ac:spMk id="2" creationId="{01F87AB6-DB89-495D-A4C7-F5A048CC6AEF}"/>
          </ac:spMkLst>
        </pc:spChg>
        <pc:spChg chg="mod">
          <ac:chgData name="Soraya San Rojas" userId="ee699595-9862-4f38-82a0-7140b1d27971" providerId="ADAL" clId="{CDF611C4-6206-4A0B-A17A-8F9AFB4DA93A}" dt="2023-01-09T21:04:33.328" v="41" actId="20577"/>
          <ac:spMkLst>
            <pc:docMk/>
            <pc:sldMk cId="1714108183" sldId="1550"/>
            <ac:spMk id="4" creationId="{586DC37B-A949-4D0A-B700-F4B4BCE123D2}"/>
          </ac:spMkLst>
        </pc:spChg>
        <pc:spChg chg="mod">
          <ac:chgData name="Soraya San Rojas" userId="ee699595-9862-4f38-82a0-7140b1d27971" providerId="ADAL" clId="{CDF611C4-6206-4A0B-A17A-8F9AFB4DA93A}" dt="2023-01-12T20:26:30.269" v="117" actId="1076"/>
          <ac:spMkLst>
            <pc:docMk/>
            <pc:sldMk cId="1714108183" sldId="1550"/>
            <ac:spMk id="9" creationId="{6497B004-EB65-498A-BA9B-7F2A89D33ACD}"/>
          </ac:spMkLst>
        </pc:spChg>
        <pc:graphicFrameChg chg="mod">
          <ac:chgData name="Soraya San Rojas" userId="ee699595-9862-4f38-82a0-7140b1d27971" providerId="ADAL" clId="{CDF611C4-6206-4A0B-A17A-8F9AFB4DA93A}" dt="2023-01-12T20:27:14.840" v="121"/>
          <ac:graphicFrameMkLst>
            <pc:docMk/>
            <pc:sldMk cId="1714108183" sldId="1550"/>
            <ac:graphicFrameMk id="3" creationId="{54B9C5F0-E258-4158-BF27-4044AC1566D0}"/>
          </ac:graphicFrameMkLst>
        </pc:graphicFrameChg>
        <pc:picChg chg="add del mod">
          <ac:chgData name="Soraya San Rojas" userId="ee699595-9862-4f38-82a0-7140b1d27971" providerId="ADAL" clId="{CDF611C4-6206-4A0B-A17A-8F9AFB4DA93A}" dt="2023-01-09T21:03:38.567" v="26" actId="478"/>
          <ac:picMkLst>
            <pc:docMk/>
            <pc:sldMk cId="1714108183" sldId="1550"/>
            <ac:picMk id="6" creationId="{A1A7725A-AF02-4BF6-833C-C233D0C8CC70}"/>
          </ac:picMkLst>
        </pc:picChg>
        <pc:picChg chg="add del mod">
          <ac:chgData name="Soraya San Rojas" userId="ee699595-9862-4f38-82a0-7140b1d27971" providerId="ADAL" clId="{CDF611C4-6206-4A0B-A17A-8F9AFB4DA93A}" dt="2023-01-12T20:26:13.766" v="111" actId="478"/>
          <ac:picMkLst>
            <pc:docMk/>
            <pc:sldMk cId="1714108183" sldId="1550"/>
            <ac:picMk id="8" creationId="{F237CE1A-85BB-4EBF-83B8-471D2FEBD5FB}"/>
          </ac:picMkLst>
        </pc:picChg>
        <pc:picChg chg="del">
          <ac:chgData name="Soraya San Rojas" userId="ee699595-9862-4f38-82a0-7140b1d27971" providerId="ADAL" clId="{CDF611C4-6206-4A0B-A17A-8F9AFB4DA93A}" dt="2023-01-09T21:03:30.003" v="22" actId="478"/>
          <ac:picMkLst>
            <pc:docMk/>
            <pc:sldMk cId="1714108183" sldId="1550"/>
            <ac:picMk id="10" creationId="{F34C75A8-B258-4EF5-AA9F-C694EC185721}"/>
          </ac:picMkLst>
        </pc:picChg>
      </pc:sldChg>
      <pc:sldChg chg="addSp delSp modSp mod">
        <pc:chgData name="Soraya San Rojas" userId="ee699595-9862-4f38-82a0-7140b1d27971" providerId="ADAL" clId="{CDF611C4-6206-4A0B-A17A-8F9AFB4DA93A}" dt="2023-01-12T20:56:17.210" v="146" actId="1076"/>
        <pc:sldMkLst>
          <pc:docMk/>
          <pc:sldMk cId="3089176527" sldId="1551"/>
        </pc:sldMkLst>
        <pc:spChg chg="mod">
          <ac:chgData name="Soraya San Rojas" userId="ee699595-9862-4f38-82a0-7140b1d27971" providerId="ADAL" clId="{CDF611C4-6206-4A0B-A17A-8F9AFB4DA93A}" dt="2023-01-12T20:50:36.909" v="135" actId="20577"/>
          <ac:spMkLst>
            <pc:docMk/>
            <pc:sldMk cId="3089176527" sldId="1551"/>
            <ac:spMk id="2" creationId="{C7254FFF-9E02-466B-A749-D22036DD70AE}"/>
          </ac:spMkLst>
        </pc:spChg>
        <pc:spChg chg="mod">
          <ac:chgData name="Soraya San Rojas" userId="ee699595-9862-4f38-82a0-7140b1d27971" providerId="ADAL" clId="{CDF611C4-6206-4A0B-A17A-8F9AFB4DA93A}" dt="2023-01-10T14:45:04.578" v="77" actId="20577"/>
          <ac:spMkLst>
            <pc:docMk/>
            <pc:sldMk cId="3089176527" sldId="1551"/>
            <ac:spMk id="3" creationId="{CDD7FCA1-69DB-4322-9895-49589F4D2B11}"/>
          </ac:spMkLst>
        </pc:spChg>
        <pc:spChg chg="mod">
          <ac:chgData name="Soraya San Rojas" userId="ee699595-9862-4f38-82a0-7140b1d27971" providerId="ADAL" clId="{CDF611C4-6206-4A0B-A17A-8F9AFB4DA93A}" dt="2023-01-12T20:50:10.902" v="129" actId="20577"/>
          <ac:spMkLst>
            <pc:docMk/>
            <pc:sldMk cId="3089176527" sldId="1551"/>
            <ac:spMk id="5" creationId="{149FEB4B-FAEC-47B8-8EB7-78652288D605}"/>
          </ac:spMkLst>
        </pc:spChg>
        <pc:graphicFrameChg chg="del">
          <ac:chgData name="Soraya San Rojas" userId="ee699595-9862-4f38-82a0-7140b1d27971" providerId="ADAL" clId="{CDF611C4-6206-4A0B-A17A-8F9AFB4DA93A}" dt="2023-01-12T20:55:57.187" v="136" actId="478"/>
          <ac:graphicFrameMkLst>
            <pc:docMk/>
            <pc:sldMk cId="3089176527" sldId="1551"/>
            <ac:graphicFrameMk id="7" creationId="{7EE2AB41-F10E-4DBF-8494-A37FE3751406}"/>
          </ac:graphicFrameMkLst>
        </pc:graphicFrameChg>
        <pc:picChg chg="add mod ord">
          <ac:chgData name="Soraya San Rojas" userId="ee699595-9862-4f38-82a0-7140b1d27971" providerId="ADAL" clId="{CDF611C4-6206-4A0B-A17A-8F9AFB4DA93A}" dt="2023-01-12T20:56:17.210" v="146" actId="1076"/>
          <ac:picMkLst>
            <pc:docMk/>
            <pc:sldMk cId="3089176527" sldId="1551"/>
            <ac:picMk id="8" creationId="{EFD04FB3-85D6-4166-8F5C-82805C6695D1}"/>
          </ac:picMkLst>
        </pc:picChg>
      </pc:sldChg>
      <pc:sldChg chg="modSp mod">
        <pc:chgData name="Soraya San Rojas" userId="ee699595-9862-4f38-82a0-7140b1d27971" providerId="ADAL" clId="{CDF611C4-6206-4A0B-A17A-8F9AFB4DA93A}" dt="2023-01-10T14:44:29.630" v="43" actId="20577"/>
        <pc:sldMkLst>
          <pc:docMk/>
          <pc:sldMk cId="2834590880" sldId="1552"/>
        </pc:sldMkLst>
        <pc:spChg chg="mod">
          <ac:chgData name="Soraya San Rojas" userId="ee699595-9862-4f38-82a0-7140b1d27971" providerId="ADAL" clId="{CDF611C4-6206-4A0B-A17A-8F9AFB4DA93A}" dt="2023-01-10T14:44:29.630" v="43" actId="20577"/>
          <ac:spMkLst>
            <pc:docMk/>
            <pc:sldMk cId="2834590880" sldId="1552"/>
            <ac:spMk id="13" creationId="{00000000-0000-0000-0000-000000000000}"/>
          </ac:spMkLst>
        </pc:spChg>
      </pc:sldChg>
    </pc:docChg>
  </pc:docChgLst>
  <pc:docChgLst>
    <pc:chgData name="Usuario invitado" providerId="Windows Live" clId="Web-{7495F7A4-69E1-4ADD-936A-4FD078D4C142}"/>
    <pc:docChg chg="addSld delSld modSld modSection">
      <pc:chgData name="Usuario invitado" userId="" providerId="Windows Live" clId="Web-{7495F7A4-69E1-4ADD-936A-4FD078D4C142}" dt="2023-04-20T12:55:49.827" v="11"/>
      <pc:docMkLst>
        <pc:docMk/>
      </pc:docMkLst>
      <pc:sldChg chg="delSp modSp del delAnim">
        <pc:chgData name="Usuario invitado" userId="" providerId="Windows Live" clId="Web-{7495F7A4-69E1-4ADD-936A-4FD078D4C142}" dt="2023-04-20T12:55:49.827" v="11"/>
        <pc:sldMkLst>
          <pc:docMk/>
          <pc:sldMk cId="2876220616" sldId="1562"/>
        </pc:sldMkLst>
        <pc:spChg chg="mod">
          <ac:chgData name="Usuario invitado" userId="" providerId="Windows Live" clId="Web-{7495F7A4-69E1-4ADD-936A-4FD078D4C142}" dt="2023-04-20T12:52:25.524" v="8" actId="1076"/>
          <ac:spMkLst>
            <pc:docMk/>
            <pc:sldMk cId="2876220616" sldId="1562"/>
            <ac:spMk id="22" creationId="{0A5FA3DB-6A5D-4FC4-A342-15DBF54F35DA}"/>
          </ac:spMkLst>
        </pc:spChg>
        <pc:spChg chg="del">
          <ac:chgData name="Usuario invitado" userId="" providerId="Windows Live" clId="Web-{7495F7A4-69E1-4ADD-936A-4FD078D4C142}" dt="2023-04-20T12:51:25.131" v="0"/>
          <ac:spMkLst>
            <pc:docMk/>
            <pc:sldMk cId="2876220616" sldId="1562"/>
            <ac:spMk id="24" creationId="{9E193B91-CCDE-4D52-882A-350910110BF3}"/>
          </ac:spMkLst>
        </pc:spChg>
        <pc:spChg chg="del mod">
          <ac:chgData name="Usuario invitado" userId="" providerId="Windows Live" clId="Web-{7495F7A4-69E1-4ADD-936A-4FD078D4C142}" dt="2023-04-20T12:51:31.366" v="2"/>
          <ac:spMkLst>
            <pc:docMk/>
            <pc:sldMk cId="2876220616" sldId="1562"/>
            <ac:spMk id="40" creationId="{730AB0E9-883A-4D9C-96E8-E92B29A27DED}"/>
          </ac:spMkLst>
        </pc:spChg>
        <pc:spChg chg="mod">
          <ac:chgData name="Usuario invitado" userId="" providerId="Windows Live" clId="Web-{7495F7A4-69E1-4ADD-936A-4FD078D4C142}" dt="2023-04-20T12:52:28.386" v="9" actId="1076"/>
          <ac:spMkLst>
            <pc:docMk/>
            <pc:sldMk cId="2876220616" sldId="1562"/>
            <ac:spMk id="41" creationId="{F7A66B8E-7D13-4218-87E1-018EDA949C70}"/>
          </ac:spMkLst>
        </pc:spChg>
        <pc:cxnChg chg="mod">
          <ac:chgData name="Usuario invitado" userId="" providerId="Windows Live" clId="Web-{7495F7A4-69E1-4ADD-936A-4FD078D4C142}" dt="2023-04-20T12:52:23.102" v="7" actId="1076"/>
          <ac:cxnSpMkLst>
            <pc:docMk/>
            <pc:sldMk cId="2876220616" sldId="1562"/>
            <ac:cxnSpMk id="25" creationId="{BE4AEEF6-5F48-411A-9D0D-0DB87FCDFD3D}"/>
          </ac:cxnSpMkLst>
        </pc:cxnChg>
        <pc:cxnChg chg="del">
          <ac:chgData name="Usuario invitado" userId="" providerId="Windows Live" clId="Web-{7495F7A4-69E1-4ADD-936A-4FD078D4C142}" dt="2023-04-20T12:51:49.117" v="5"/>
          <ac:cxnSpMkLst>
            <pc:docMk/>
            <pc:sldMk cId="2876220616" sldId="1562"/>
            <ac:cxnSpMk id="27" creationId="{9CE05AA0-3C10-4BB5-B739-EE5066EBEB98}"/>
          </ac:cxnSpMkLst>
        </pc:cxnChg>
      </pc:sldChg>
      <pc:sldChg chg="add">
        <pc:chgData name="Usuario invitado" userId="" providerId="Windows Live" clId="Web-{7495F7A4-69E1-4ADD-936A-4FD078D4C142}" dt="2023-04-20T12:55:42.077" v="10"/>
        <pc:sldMkLst>
          <pc:docMk/>
          <pc:sldMk cId="2309827784" sldId="1563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251388" y="577353"/>
            <a:ext cx="8255049" cy="583409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300"/>
            </a:lvl1pPr>
            <a:lvl2pPr marL="8409" indent="0">
              <a:defRPr sz="1300"/>
            </a:lvl2pPr>
            <a:lvl3pPr marL="0" indent="0">
              <a:defRPr sz="1300"/>
            </a:lvl3pPr>
            <a:lvl4pPr marL="8409" indent="0">
              <a:defRPr sz="1300"/>
            </a:lvl4pPr>
            <a:lvl5pPr marL="0" indent="0">
              <a:defRPr sz="1300"/>
            </a:lvl5pPr>
            <a:lvl6pPr marL="8409" indent="0">
              <a:defRPr sz="1300"/>
            </a:lvl6pPr>
            <a:lvl7pPr marL="0" indent="0">
              <a:defRPr sz="1300"/>
            </a:lvl7pPr>
            <a:lvl8pPr marL="8409" indent="0">
              <a:defRPr sz="1300"/>
            </a:lvl8pPr>
            <a:lvl9pPr marL="0" indent="0">
              <a:defRPr sz="1300"/>
            </a:lvl9pPr>
          </a:lstStyle>
          <a:p>
            <a:endParaRPr lang="en-US"/>
          </a:p>
        </p:txBody>
      </p:sp>
      <p:sp>
        <p:nvSpPr>
          <p:cNvPr id="12" name="Date Placeholder 2"/>
          <p:cNvSpPr>
            <a:spLocks noGrp="1"/>
          </p:cNvSpPr>
          <p:nvPr>
            <p:ph type="dt" sz="quarter" idx="1"/>
          </p:nvPr>
        </p:nvSpPr>
        <p:spPr bwMode="gray">
          <a:xfrm>
            <a:off x="8576855" y="31597369"/>
            <a:ext cx="679127" cy="58340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300">
                <a:noFill/>
              </a:defRPr>
            </a:lvl1pPr>
            <a:lvl2pPr marL="0" indent="0">
              <a:defRPr sz="1300">
                <a:noFill/>
              </a:defRPr>
            </a:lvl2pPr>
            <a:lvl3pPr marL="0" indent="0" algn="l">
              <a:defRPr sz="1300">
                <a:noFill/>
              </a:defRPr>
            </a:lvl3pPr>
            <a:lvl4pPr marL="0" indent="0">
              <a:defRPr sz="1300">
                <a:noFill/>
              </a:defRPr>
            </a:lvl4pPr>
            <a:lvl5pPr marL="0" indent="0">
              <a:defRPr sz="1300">
                <a:noFill/>
              </a:defRPr>
            </a:lvl5pPr>
            <a:lvl6pPr marL="0" indent="0">
              <a:defRPr sz="1300">
                <a:noFill/>
              </a:defRPr>
            </a:lvl6pPr>
            <a:lvl7pPr marL="0" indent="0">
              <a:defRPr sz="1300">
                <a:noFill/>
              </a:defRPr>
            </a:lvl7pPr>
            <a:lvl8pPr marL="0" indent="0">
              <a:defRPr sz="1300">
                <a:noFill/>
              </a:defRPr>
            </a:lvl8pPr>
            <a:lvl9pPr marL="0" indent="0">
              <a:defRPr sz="1300">
                <a:noFill/>
              </a:defRPr>
            </a:lvl9pPr>
          </a:lstStyle>
          <a:p>
            <a:fld id="{D4C110CA-FC68-43DA-BD62-0A387A11A067}" type="datetimeFigureOut">
              <a:rPr lang="en-US" smtClean="0"/>
              <a:pPr/>
              <a:t>4/20/2023</a:t>
            </a:fld>
            <a:endParaRPr lang="en-US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2"/>
          </p:nvPr>
        </p:nvSpPr>
        <p:spPr bwMode="gray">
          <a:xfrm>
            <a:off x="682808" y="31597369"/>
            <a:ext cx="7681571" cy="58340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300"/>
            </a:lvl1pPr>
            <a:lvl2pPr marL="8409" indent="0">
              <a:defRPr sz="1300">
                <a:solidFill>
                  <a:schemeClr val="tx1"/>
                </a:solidFill>
              </a:defRPr>
            </a:lvl2pPr>
            <a:lvl3pPr marL="0" indent="0">
              <a:defRPr sz="1300"/>
            </a:lvl3pPr>
            <a:lvl4pPr marL="8409" indent="0">
              <a:defRPr sz="1300"/>
            </a:lvl4pPr>
            <a:lvl5pPr marL="0" indent="0">
              <a:defRPr sz="1300"/>
            </a:lvl5pPr>
            <a:lvl6pPr marL="8409" indent="0">
              <a:defRPr sz="1300"/>
            </a:lvl6pPr>
            <a:lvl7pPr marL="0" indent="0">
              <a:defRPr sz="1300"/>
            </a:lvl7pPr>
            <a:lvl8pPr marL="8409" indent="0">
              <a:defRPr sz="1300"/>
            </a:lvl8pPr>
            <a:lvl9pPr marL="0" indent="0">
              <a:defRPr sz="1300"/>
            </a:lvl9pPr>
          </a:lstStyle>
          <a:p>
            <a:endParaRPr lang="en-US"/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3"/>
          </p:nvPr>
        </p:nvSpPr>
        <p:spPr bwMode="gray">
          <a:xfrm>
            <a:off x="242403" y="31597369"/>
            <a:ext cx="262854" cy="58340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300"/>
            </a:lvl1pPr>
            <a:lvl2pPr marL="0" indent="0">
              <a:defRPr sz="1300"/>
            </a:lvl2pPr>
            <a:lvl3pPr marL="0" indent="0">
              <a:defRPr sz="1300"/>
            </a:lvl3pPr>
            <a:lvl4pPr marL="0" indent="0">
              <a:defRPr sz="1300"/>
            </a:lvl4pPr>
            <a:lvl5pPr marL="0" indent="0">
              <a:defRPr sz="1300"/>
            </a:lvl5pPr>
            <a:lvl6pPr marL="0" indent="0">
              <a:defRPr sz="1300"/>
            </a:lvl6pPr>
            <a:lvl7pPr marL="0" indent="0">
              <a:defRPr sz="1300"/>
            </a:lvl7pPr>
            <a:lvl8pPr marL="0" indent="0">
              <a:defRPr sz="1300"/>
            </a:lvl8pPr>
            <a:lvl9pPr marL="0" indent="0">
              <a:defRPr sz="1300"/>
            </a:lvl9pPr>
          </a:lstStyle>
          <a:p>
            <a:fld id="{32F3CE37-8989-471A-BC57-D3CAAD03839D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749176" y="628773"/>
            <a:ext cx="502540" cy="1190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05931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emf"/><Relationship Id="rId1" Type="http://schemas.openxmlformats.org/officeDocument/2006/relationships/theme" Target="../theme/theme2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-2895600" y="2017713"/>
            <a:ext cx="10760075" cy="6054725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txBody>
          <a:bodyPr vert="horz" lIns="161426" tIns="80713" rIns="161426" bIns="80713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265974" y="9600410"/>
            <a:ext cx="8976458" cy="21122056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275830" y="598766"/>
            <a:ext cx="8140268" cy="605048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300"/>
            </a:lvl1pPr>
            <a:lvl2pPr marL="8409" indent="0">
              <a:defRPr sz="1300"/>
            </a:lvl2pPr>
            <a:lvl3pPr marL="0" indent="0">
              <a:defRPr sz="1300"/>
            </a:lvl3pPr>
            <a:lvl4pPr marL="8409" indent="0">
              <a:defRPr sz="1300"/>
            </a:lvl4pPr>
            <a:lvl5pPr marL="0" indent="0">
              <a:defRPr sz="1300"/>
            </a:lvl5pPr>
            <a:lvl6pPr marL="8409" indent="0">
              <a:defRPr sz="1300"/>
            </a:lvl6pPr>
            <a:lvl7pPr marL="0" indent="0">
              <a:defRPr sz="1300"/>
            </a:lvl7pPr>
            <a:lvl8pPr marL="8409" indent="0">
              <a:defRPr sz="1300"/>
            </a:lvl8pPr>
            <a:lvl9pPr marL="0" indent="0">
              <a:defRPr sz="1300"/>
            </a:lvl9pPr>
          </a:lstStyle>
          <a:p>
            <a:endParaRPr lang="en-US"/>
          </a:p>
        </p:txBody>
      </p:sp>
      <p:sp>
        <p:nvSpPr>
          <p:cNvPr id="14" name="Date Placeholder 2"/>
          <p:cNvSpPr>
            <a:spLocks noGrp="1"/>
          </p:cNvSpPr>
          <p:nvPr>
            <p:ph type="dt" sz="quarter" idx="1"/>
          </p:nvPr>
        </p:nvSpPr>
        <p:spPr bwMode="gray">
          <a:xfrm>
            <a:off x="8494968" y="31555602"/>
            <a:ext cx="745335" cy="605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300">
                <a:noFill/>
              </a:defRPr>
            </a:lvl1pPr>
            <a:lvl2pPr marL="0" indent="0">
              <a:defRPr sz="1300">
                <a:noFill/>
              </a:defRPr>
            </a:lvl2pPr>
            <a:lvl3pPr marL="0" indent="0" algn="l">
              <a:defRPr sz="1300">
                <a:noFill/>
              </a:defRPr>
            </a:lvl3pPr>
            <a:lvl4pPr marL="0" indent="0">
              <a:defRPr sz="1300">
                <a:noFill/>
              </a:defRPr>
            </a:lvl4pPr>
            <a:lvl5pPr marL="0" indent="0">
              <a:defRPr sz="1300">
                <a:noFill/>
              </a:defRPr>
            </a:lvl5pPr>
            <a:lvl6pPr marL="0" indent="0">
              <a:defRPr sz="1300">
                <a:noFill/>
              </a:defRPr>
            </a:lvl6pPr>
            <a:lvl7pPr marL="0" indent="0">
              <a:defRPr sz="1300">
                <a:noFill/>
              </a:defRPr>
            </a:lvl7pPr>
            <a:lvl8pPr marL="0" indent="0">
              <a:defRPr sz="1300">
                <a:noFill/>
              </a:defRPr>
            </a:lvl8pPr>
            <a:lvl9pPr marL="0" indent="0">
              <a:defRPr sz="1300">
                <a:noFill/>
              </a:defRPr>
            </a:lvl9pPr>
          </a:lstStyle>
          <a:p>
            <a:fld id="{D4C110CA-FC68-43DA-BD62-0A387A11A067}" type="datetimeFigureOut">
              <a:rPr lang="en-US" smtClean="0"/>
              <a:pPr/>
              <a:t>4/20/2023</a:t>
            </a:fld>
            <a:endParaRPr lang="en-US"/>
          </a:p>
        </p:txBody>
      </p:sp>
      <p:sp>
        <p:nvSpPr>
          <p:cNvPr id="15" name="Footer Placeholder 3"/>
          <p:cNvSpPr>
            <a:spLocks noGrp="1"/>
          </p:cNvSpPr>
          <p:nvPr>
            <p:ph type="ftr" sz="quarter" idx="4"/>
          </p:nvPr>
        </p:nvSpPr>
        <p:spPr bwMode="gray">
          <a:xfrm>
            <a:off x="755727" y="31555602"/>
            <a:ext cx="7540487" cy="605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300"/>
            </a:lvl1pPr>
            <a:lvl2pPr marL="8409" indent="0">
              <a:defRPr sz="1300">
                <a:solidFill>
                  <a:schemeClr val="tx1"/>
                </a:solidFill>
              </a:defRPr>
            </a:lvl2pPr>
            <a:lvl3pPr marL="0" indent="0">
              <a:defRPr sz="1300"/>
            </a:lvl3pPr>
            <a:lvl4pPr marL="8409" indent="0">
              <a:defRPr sz="1300"/>
            </a:lvl4pPr>
            <a:lvl5pPr marL="0" indent="0">
              <a:defRPr sz="1300"/>
            </a:lvl5pPr>
            <a:lvl6pPr marL="8409" indent="0">
              <a:defRPr sz="1300"/>
            </a:lvl6pPr>
            <a:lvl7pPr marL="0" indent="0">
              <a:defRPr sz="1300"/>
            </a:lvl7pPr>
            <a:lvl8pPr marL="8409" indent="0">
              <a:defRPr sz="1300"/>
            </a:lvl8pPr>
            <a:lvl9pPr marL="0" indent="0">
              <a:defRPr sz="1300"/>
            </a:lvl9pPr>
          </a:lstStyle>
          <a:p>
            <a:endParaRPr lang="en-US"/>
          </a:p>
        </p:txBody>
      </p:sp>
      <p:sp>
        <p:nvSpPr>
          <p:cNvPr id="16" name="Slide Number Placeholder 4"/>
          <p:cNvSpPr>
            <a:spLocks noGrp="1"/>
          </p:cNvSpPr>
          <p:nvPr>
            <p:ph type="sldNum" sz="quarter" idx="5"/>
          </p:nvPr>
        </p:nvSpPr>
        <p:spPr bwMode="gray">
          <a:xfrm>
            <a:off x="266037" y="31555602"/>
            <a:ext cx="288195" cy="605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300"/>
            </a:lvl1pPr>
            <a:lvl2pPr marL="0" indent="0">
              <a:defRPr sz="1300"/>
            </a:lvl2pPr>
            <a:lvl3pPr marL="0" indent="0">
              <a:defRPr sz="1300"/>
            </a:lvl3pPr>
            <a:lvl4pPr marL="0" indent="0">
              <a:defRPr sz="1300"/>
            </a:lvl4pPr>
            <a:lvl5pPr marL="0" indent="0">
              <a:defRPr sz="1300"/>
            </a:lvl5pPr>
            <a:lvl6pPr marL="0" indent="0">
              <a:defRPr sz="1300"/>
            </a:lvl6pPr>
            <a:lvl7pPr marL="0" indent="0">
              <a:defRPr sz="1300"/>
            </a:lvl7pPr>
            <a:lvl8pPr marL="0" indent="0">
              <a:defRPr sz="1300"/>
            </a:lvl8pPr>
            <a:lvl9pPr marL="0" indent="0">
              <a:defRPr sz="1300"/>
            </a:lvl9pPr>
          </a:lstStyle>
          <a:p>
            <a:fld id="{32F3CE37-8989-471A-BC57-D3CAAD03839D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688890" y="671901"/>
            <a:ext cx="551292" cy="1305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97749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1800"/>
      </a:spcBef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Bef>
        <a:spcPts val="300"/>
      </a:spcBef>
      <a:buFontTx/>
      <a:buBlip>
        <a:blip r:embed="rId3"/>
      </a:buBlip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Bef>
        <a:spcPts val="300"/>
      </a:spcBef>
      <a:buFontTx/>
      <a:buBlip>
        <a:blip r:embed="rId4"/>
      </a:buBlip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Bef>
        <a:spcPts val="300"/>
      </a:spcBef>
      <a:buFontTx/>
      <a:buBlip>
        <a:blip r:embed="rId5"/>
      </a:buBlip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BD2C90-BBA0-46EC-8B01-B5FB30F66FDA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3" name="Folienbildplatzhalter 2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izenplatzhalt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94621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BD2C90-BBA0-46EC-8B01-B5FB30F66FDA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3" name="Folienbildplatzhalter 2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izenplatzhalt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44610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45A2FEF8-95DF-4328-850D-3F7840A62554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318F993-6CEF-4223-9A52-887D275BDD53}" type="datetime1">
              <a:rPr lang="en-US" smtClean="0"/>
              <a:t>4/2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fr-FR"/>
              <a:t>/// Crop Science Division Profile /// September 2019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3F626E8-4D4D-4477-BEF3-9372D1A5AD5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2872" y="0"/>
            <a:ext cx="8079923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Logoschutz" hidden="1">
            <a:extLst>
              <a:ext uri="{FF2B5EF4-FFF2-40B4-BE49-F238E27FC236}">
                <a16:creationId xmlns:a16="http://schemas.microsoft.com/office/drawing/2014/main" id="{C9A9C5E1-5EC5-4E10-A801-6F56DB71E6CD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3360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 &amp;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3B0B19A-468E-4A57-823D-44A7EB5304C4}" type="datetime1">
              <a:rPr lang="en-US" smtClean="0"/>
              <a:t>4/2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/>
              <a:t>/// Crop Science Division Profile /// September 2019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º›</a:t>
            </a:fld>
            <a:endParaRPr lang="en-US"/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981820" y="3892749"/>
            <a:ext cx="5220000" cy="2592001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6559719" y="3892749"/>
            <a:ext cx="5220000" cy="25920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5" name="Picture Placeholder 14 (left)"/>
          <p:cNvSpPr>
            <a:spLocks noGrp="1"/>
          </p:cNvSpPr>
          <p:nvPr>
            <p:ph type="pic" sz="quarter" idx="16"/>
          </p:nvPr>
        </p:nvSpPr>
        <p:spPr bwMode="gray">
          <a:xfrm>
            <a:off x="981820" y="1732750"/>
            <a:ext cx="522000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6" name="Picture Placeholder 14 (right)"/>
          <p:cNvSpPr>
            <a:spLocks noGrp="1"/>
          </p:cNvSpPr>
          <p:nvPr>
            <p:ph type="pic" sz="quarter" idx="17"/>
          </p:nvPr>
        </p:nvSpPr>
        <p:spPr bwMode="gray">
          <a:xfrm>
            <a:off x="6559719" y="1732750"/>
            <a:ext cx="522000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839903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2228">
          <p15:clr>
            <a:srgbClr val="FBAE40"/>
          </p15:clr>
        </p15:guide>
        <p15:guide id="4" orient="horz" pos="2455">
          <p15:clr>
            <a:srgbClr val="FBAE40"/>
          </p15:clr>
        </p15:guide>
        <p15:guide id="5" pos="619">
          <p15:clr>
            <a:srgbClr val="FBAE40"/>
          </p15:clr>
        </p15:guide>
        <p15:guide id="6" pos="7423">
          <p15:clr>
            <a:srgbClr val="FBAE40"/>
          </p15:clr>
        </p15:guide>
        <p15:guide id="7" orient="horz" pos="1094">
          <p15:clr>
            <a:srgbClr val="FBAE40"/>
          </p15:clr>
        </p15:guide>
        <p15:guide id="8" orient="horz" pos="4085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981821" y="181938"/>
            <a:ext cx="10798460" cy="864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B9FF164-67BA-485F-AC24-E7E614CB9268}" type="datetime1">
              <a:rPr lang="en-US" smtClean="0"/>
              <a:t>4/2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/>
              <a:t>/// Crop Science Division Profile /// September 2019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º›</a:t>
            </a:fld>
            <a:endParaRPr lang="en-US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289235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4086">
          <p15:clr>
            <a:srgbClr val="FBAE40"/>
          </p15:clr>
        </p15:guide>
        <p15:guide id="4" orient="horz" pos="1094">
          <p15:clr>
            <a:srgbClr val="FBAE40"/>
          </p15:clr>
        </p15:guide>
        <p15:guide id="5" pos="2150">
          <p15:clr>
            <a:srgbClr val="FBAE40"/>
          </p15:clr>
        </p15:guide>
        <p15:guide id="6" pos="2376">
          <p15:clr>
            <a:srgbClr val="FBAE40"/>
          </p15:clr>
        </p15:guide>
        <p15:guide id="7" pos="3908">
          <p15:clr>
            <a:srgbClr val="FBAE40"/>
          </p15:clr>
        </p15:guide>
        <p15:guide id="8" pos="4021">
          <p15:clr>
            <a:srgbClr val="FBAE40"/>
          </p15:clr>
        </p15:guide>
        <p15:guide id="9" pos="4134">
          <p15:clr>
            <a:srgbClr val="FBAE40"/>
          </p15:clr>
        </p15:guide>
        <p15:guide id="10" pos="5667">
          <p15:clr>
            <a:srgbClr val="FBAE40"/>
          </p15:clr>
        </p15:guide>
        <p15:guide id="11" pos="5894">
          <p15:clr>
            <a:srgbClr val="FBAE40"/>
          </p15:clr>
        </p15:guide>
        <p15:guide id="12" orient="horz" pos="2478">
          <p15:clr>
            <a:srgbClr val="FBAE40"/>
          </p15:clr>
        </p15:guide>
        <p15:guide id="13" orient="horz" pos="2704">
          <p15:clr>
            <a:srgbClr val="FBAE40"/>
          </p15:clr>
        </p15:guide>
        <p15:guide id="14" orient="horz" pos="259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980282" y="1052513"/>
            <a:ext cx="10800000" cy="5432237"/>
          </a:xfrm>
        </p:spPr>
        <p:txBody>
          <a:bodyPr bIns="0" anchor="ctr"/>
          <a:lstStyle>
            <a:lvl1pPr marL="0" indent="0" algn="l">
              <a:buNone/>
              <a:defRPr sz="6600">
                <a:solidFill>
                  <a:schemeClr val="tx2"/>
                </a:solidFill>
              </a:defRPr>
            </a:lvl1pPr>
            <a:lvl2pPr marL="0" indent="0" algn="l">
              <a:buNone/>
              <a:defRPr sz="6600">
                <a:solidFill>
                  <a:schemeClr val="tx2"/>
                </a:solidFill>
              </a:defRPr>
            </a:lvl2pPr>
            <a:lvl3pPr marL="0" indent="0" algn="l">
              <a:buNone/>
              <a:defRPr sz="6600">
                <a:solidFill>
                  <a:schemeClr val="tx2"/>
                </a:solidFill>
              </a:defRPr>
            </a:lvl3pPr>
            <a:lvl4pPr marL="0" indent="0" algn="l">
              <a:buNone/>
              <a:defRPr sz="6600">
                <a:solidFill>
                  <a:schemeClr val="tx2"/>
                </a:solidFill>
              </a:defRPr>
            </a:lvl4pPr>
            <a:lvl5pPr marL="0" indent="0" algn="l">
              <a:buNone/>
              <a:defRPr sz="6600">
                <a:solidFill>
                  <a:schemeClr val="tx2"/>
                </a:solidFill>
              </a:defRPr>
            </a:lvl5pPr>
            <a:lvl6pPr marL="0" indent="0" algn="l">
              <a:buNone/>
              <a:defRPr sz="6600">
                <a:solidFill>
                  <a:schemeClr val="tx2"/>
                </a:solidFill>
              </a:defRPr>
            </a:lvl6pPr>
            <a:lvl7pPr marL="0" indent="0" algn="l">
              <a:buNone/>
              <a:defRPr sz="6600">
                <a:solidFill>
                  <a:schemeClr val="tx2"/>
                </a:solidFill>
              </a:defRPr>
            </a:lvl7pPr>
            <a:lvl8pPr marL="0" indent="0" algn="l">
              <a:buNone/>
              <a:defRPr sz="6600">
                <a:solidFill>
                  <a:schemeClr val="tx2"/>
                </a:solidFill>
              </a:defRPr>
            </a:lvl8pPr>
            <a:lvl9pPr marL="0" indent="0" algn="l">
              <a:buNone/>
              <a:defRPr sz="66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0C6B8A1-5C25-4E3D-B732-6B6C1FC92C93}" type="datetime1">
              <a:rPr lang="en-US" smtClean="0"/>
              <a:t>4/20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/>
              <a:t>/// Crop Science Division Profile /// September 2019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19706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663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D038CA2-CC70-4687-8572-538BC343C022}" type="datetime1">
              <a:rPr lang="en-US" smtClean="0"/>
              <a:t>4/20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fr-FR"/>
              <a:t>/// Crop Science Division Profile /// September 2019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6" name="Picture Placeholder 14"/>
          <p:cNvSpPr>
            <a:spLocks noGrp="1"/>
          </p:cNvSpPr>
          <p:nvPr>
            <p:ph type="pic" sz="quarter" idx="16"/>
          </p:nvPr>
        </p:nvSpPr>
        <p:spPr bwMode="gray">
          <a:xfrm>
            <a:off x="0" y="0"/>
            <a:ext cx="12190413" cy="6858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9345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0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32760">
                <a:srgbClr val="00617F"/>
              </a:gs>
              <a:gs pos="0">
                <a:srgbClr val="00617F"/>
              </a:gs>
              <a:gs pos="72000">
                <a:srgbClr val="10384F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819" y="1732422"/>
            <a:ext cx="5381498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139157D0-86EA-4E9C-828A-8309B56B4065}" type="datetime1">
              <a:rPr lang="en-US" smtClean="0"/>
              <a:t>4/2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fr-FR"/>
              <a:t>/// Crop Science Division Profile /// September 2019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19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043114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0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2B6636"/>
              </a:gs>
              <a:gs pos="0">
                <a:srgbClr val="2B6636"/>
              </a:gs>
              <a:gs pos="72000">
                <a:srgbClr val="004422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821" y="1732757"/>
            <a:ext cx="5381496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9E58082-AF74-4445-A9AC-8CE93292B454}" type="datetime1">
              <a:rPr lang="en-US" smtClean="0"/>
              <a:t>4/2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fr-FR"/>
              <a:t>/// Crop Science Division Profile /// September 2019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20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562772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0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624963"/>
              </a:gs>
              <a:gs pos="0">
                <a:srgbClr val="624963"/>
              </a:gs>
              <a:gs pos="72000">
                <a:srgbClr val="443247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820" y="1732757"/>
            <a:ext cx="5381496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0EE806A-DC54-445D-A241-D5F99BF37CEE}" type="datetime1">
              <a:rPr lang="en-US" smtClean="0"/>
              <a:t>4/2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fr-FR"/>
              <a:t>/// Crop Science Division Profile /// September 2019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20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accent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871054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ED9FCB3-9B29-42A8-A735-DBF9B3C4108B}" type="datetime1">
              <a:rPr lang="en-US" smtClean="0"/>
              <a:t>4/2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7841" y="0"/>
            <a:ext cx="8114953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4953"/>
              <a:gd name="connsiteY0" fmla="*/ 0 h 6858000"/>
              <a:gd name="connsiteX1" fmla="*/ 8112573 w 8114953"/>
              <a:gd name="connsiteY1" fmla="*/ 0 h 6858000"/>
              <a:gd name="connsiteX2" fmla="*/ 8114953 w 8114953"/>
              <a:gd name="connsiteY2" fmla="*/ 6003673 h 6858000"/>
              <a:gd name="connsiteX3" fmla="*/ 3275459 w 8114953"/>
              <a:gd name="connsiteY3" fmla="*/ 6858000 h 6858000"/>
              <a:gd name="connsiteX4" fmla="*/ 0 w 8114953"/>
              <a:gd name="connsiteY4" fmla="*/ 6858000 h 6858000"/>
              <a:gd name="connsiteX5" fmla="*/ 1341581 w 8114953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4953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4953" y="4090555"/>
                  <a:pt x="8114953" y="6003673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23528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811760F-49C6-484E-B794-C4B70C65AEB2}" type="datetime1">
              <a:rPr lang="en-US" smtClean="0"/>
              <a:t>4/2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fr-FR"/>
              <a:t>/// Crop Science Division Profile /// September 2019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C0614FA-2289-4D50-861D-D1CE2042502D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2CD53346-3B88-4ECD-BC3C-B158CECCD4F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2872" y="0"/>
            <a:ext cx="8079923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2FE56050-78D4-446C-87C6-B9C42DDC4070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310360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8331062-53AF-412B-A235-6DCBA819F08B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9E11E29-8036-449A-94B2-ABD08FF8E525}" type="datetime1">
              <a:rPr lang="en-US" smtClean="0"/>
              <a:t>4/2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fr-FR"/>
              <a:t>/// Crop Science Division Profile /// September 2019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F895202-4A4D-43A2-B3BF-4253EA64031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2872" y="0"/>
            <a:ext cx="8079923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82EE1829-716E-40CB-A4A0-CAB36B358641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167711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1976765" y="403540"/>
            <a:ext cx="9624002" cy="864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5" name="Text Placeholder 54"/>
          <p:cNvSpPr>
            <a:spLocks noGrp="1"/>
          </p:cNvSpPr>
          <p:nvPr>
            <p:ph type="body" sz="quarter" idx="13"/>
          </p:nvPr>
        </p:nvSpPr>
        <p:spPr bwMode="gray">
          <a:xfrm>
            <a:off x="2005337" y="1843721"/>
            <a:ext cx="4680000" cy="4641030"/>
          </a:xfrm>
        </p:spPr>
        <p:txBody>
          <a:bodyPr/>
          <a:lstStyle>
            <a:lvl1pPr marL="270000" indent="-270000">
              <a:spcBef>
                <a:spcPts val="1800"/>
              </a:spcBef>
              <a:spcAft>
                <a:spcPts val="0"/>
              </a:spcAft>
              <a:buFontTx/>
              <a:buBlip>
                <a:blip r:embed="rId3"/>
              </a:buBlip>
              <a:defRPr sz="2000"/>
            </a:lvl1pPr>
            <a:lvl2pPr marL="54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4"/>
              </a:buBlip>
              <a:defRPr sz="2000"/>
            </a:lvl2pPr>
            <a:lvl3pPr marL="81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5"/>
              </a:buBlip>
              <a:defRPr sz="2000"/>
            </a:lvl3pPr>
            <a:lvl4pPr marL="108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6"/>
              </a:buBlip>
              <a:defRPr sz="2000"/>
            </a:lvl4pPr>
            <a:lvl5pPr>
              <a:spcBef>
                <a:spcPts val="600"/>
              </a:spcBef>
              <a:spcAft>
                <a:spcPts val="0"/>
              </a:spcAft>
              <a:defRPr sz="2000"/>
            </a:lvl5pPr>
            <a:lvl6pPr>
              <a:spcBef>
                <a:spcPts val="600"/>
              </a:spcBef>
              <a:spcAft>
                <a:spcPts val="0"/>
              </a:spcAft>
              <a:defRPr sz="2000"/>
            </a:lvl6pPr>
            <a:lvl7pPr>
              <a:spcBef>
                <a:spcPts val="600"/>
              </a:spcBef>
              <a:spcAft>
                <a:spcPts val="0"/>
              </a:spcAft>
              <a:defRPr sz="2000"/>
            </a:lvl7pPr>
            <a:lvl8pPr>
              <a:spcBef>
                <a:spcPts val="600"/>
              </a:spcBef>
              <a:spcAft>
                <a:spcPts val="0"/>
              </a:spcAft>
              <a:defRPr sz="2000"/>
            </a:lvl8pPr>
            <a:lvl9pPr>
              <a:spcBef>
                <a:spcPts val="600"/>
              </a:spcBef>
              <a:spcAft>
                <a:spcPts val="0"/>
              </a:spcAft>
              <a:defRPr sz="20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945CE47-2981-4B13-9554-1B2C71D10F6A}" type="datetime1">
              <a:rPr lang="en-US" smtClean="0"/>
              <a:t>4/20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974672" y="6617933"/>
            <a:ext cx="5710665" cy="108000"/>
          </a:xfrm>
        </p:spPr>
        <p:txBody>
          <a:bodyPr/>
          <a:lstStyle/>
          <a:p>
            <a:r>
              <a:rPr lang="fr-FR"/>
              <a:t>/// Crop Science Division Profile /// September 2019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95843" y="6617933"/>
            <a:ext cx="392326" cy="108000"/>
          </a:xfrm>
        </p:spPr>
        <p:txBody>
          <a:bodyPr/>
          <a:lstStyle/>
          <a:p>
            <a:fld id="{EEAD9179-7A6B-4268-BEB2-F3B8EB06115B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01832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/>
          <p:cNvGrpSpPr/>
          <p:nvPr/>
        </p:nvGrpSpPr>
        <p:grpSpPr bwMode="black">
          <a:xfrm>
            <a:off x="7804236" y="1"/>
            <a:ext cx="4386177" cy="6858000"/>
            <a:chOff x="7804236" y="1"/>
            <a:chExt cx="4386177" cy="6858000"/>
          </a:xfrm>
        </p:grpSpPr>
        <p:sp>
          <p:nvSpPr>
            <p:cNvPr id="19" name="Freeform 6"/>
            <p:cNvSpPr>
              <a:spLocks/>
            </p:cNvSpPr>
            <p:nvPr userDrawn="1"/>
          </p:nvSpPr>
          <p:spPr bwMode="black">
            <a:xfrm>
              <a:off x="7804236" y="1"/>
              <a:ext cx="2489310" cy="6858000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black">
            <a:xfrm>
              <a:off x="8456276" y="1408976"/>
              <a:ext cx="3734137" cy="5449024"/>
            </a:xfrm>
            <a:custGeom>
              <a:avLst/>
              <a:gdLst>
                <a:gd name="T0" fmla="*/ 0 w 2785"/>
                <a:gd name="T1" fmla="*/ 4064 h 4064"/>
                <a:gd name="T2" fmla="*/ 11 w 2785"/>
                <a:gd name="T3" fmla="*/ 4064 h 4064"/>
                <a:gd name="T4" fmla="*/ 2785 w 2785"/>
                <a:gd name="T5" fmla="*/ 17 h 4064"/>
                <a:gd name="T6" fmla="*/ 2785 w 2785"/>
                <a:gd name="T7" fmla="*/ 0 h 4064"/>
                <a:gd name="T8" fmla="*/ 0 w 2785"/>
                <a:gd name="T9" fmla="*/ 4064 h 4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5" h="4064">
                  <a:moveTo>
                    <a:pt x="0" y="4064"/>
                  </a:moveTo>
                  <a:lnTo>
                    <a:pt x="11" y="4064"/>
                  </a:lnTo>
                  <a:lnTo>
                    <a:pt x="2785" y="17"/>
                  </a:lnTo>
                  <a:lnTo>
                    <a:pt x="2785" y="0"/>
                  </a:lnTo>
                  <a:lnTo>
                    <a:pt x="0" y="406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6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733913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254">
          <p15:clr>
            <a:srgbClr val="FBAE40"/>
          </p15:clr>
        </p15:guide>
        <p15:guide id="2" orient="horz" pos="4086">
          <p15:clr>
            <a:srgbClr val="FBAE40"/>
          </p15:clr>
        </p15:guide>
        <p15:guide id="3" orient="horz" pos="1162">
          <p15:clr>
            <a:srgbClr val="FBAE40"/>
          </p15:clr>
        </p15:guide>
        <p15:guide id="4" pos="421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invGray">
          <a:xfrm>
            <a:off x="0" y="0"/>
            <a:ext cx="2104575" cy="6861175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1175"/>
              <a:gd name="connsiteX1" fmla="*/ 2104575 w 2104575"/>
              <a:gd name="connsiteY1" fmla="*/ 0 h 6861175"/>
              <a:gd name="connsiteX2" fmla="*/ 650732 w 2104575"/>
              <a:gd name="connsiteY2" fmla="*/ 6861175 h 6861175"/>
              <a:gd name="connsiteX3" fmla="*/ 0 w 2104575"/>
              <a:gd name="connsiteY3" fmla="*/ 6858000 h 6861175"/>
              <a:gd name="connsiteX4" fmla="*/ 0 w 2104575"/>
              <a:gd name="connsiteY4" fmla="*/ 0 h 6861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1175">
                <a:moveTo>
                  <a:pt x="0" y="0"/>
                </a:moveTo>
                <a:lnTo>
                  <a:pt x="2104575" y="0"/>
                </a:lnTo>
                <a:lnTo>
                  <a:pt x="650732" y="6861175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E61A5D"/>
              </a:gs>
              <a:gs pos="50000">
                <a:srgbClr val="E61A5D"/>
              </a:gs>
              <a:gs pos="84000">
                <a:srgbClr val="E61A5D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1C8FB788-70E6-48DB-9411-5A78D5E6E64A}" type="datetime1">
              <a:rPr lang="en-US" smtClean="0"/>
              <a:t>4/20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fr-FR"/>
              <a:t>/// Crop Science Division Profile /// September 2019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6846097" y="3064854"/>
            <a:ext cx="4500000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1809949" y="1473902"/>
            <a:ext cx="4140000" cy="1440753"/>
          </a:xfrm>
        </p:spPr>
        <p:txBody>
          <a:bodyPr anchor="b"/>
          <a:lstStyle>
            <a:lvl1pPr algn="r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grpSp>
        <p:nvGrpSpPr>
          <p:cNvPr id="49" name="Group 48"/>
          <p:cNvGrpSpPr/>
          <p:nvPr/>
        </p:nvGrpSpPr>
        <p:grpSpPr bwMode="black">
          <a:xfrm>
            <a:off x="4710111" y="1"/>
            <a:ext cx="2593510" cy="6858000"/>
            <a:chOff x="4710111" y="1"/>
            <a:chExt cx="2593510" cy="6858000"/>
          </a:xfrm>
        </p:grpSpPr>
        <p:sp>
          <p:nvSpPr>
            <p:cNvPr id="50" name="Freeform 6"/>
            <p:cNvSpPr>
              <a:spLocks/>
            </p:cNvSpPr>
            <p:nvPr userDrawn="1"/>
          </p:nvSpPr>
          <p:spPr bwMode="black">
            <a:xfrm>
              <a:off x="4710111" y="1"/>
              <a:ext cx="2393982" cy="6858000"/>
            </a:xfrm>
            <a:custGeom>
              <a:avLst/>
              <a:gdLst>
                <a:gd name="T0" fmla="*/ 9 w 1781"/>
                <a:gd name="T1" fmla="*/ 5102 h 5102"/>
                <a:gd name="T2" fmla="*/ 1781 w 1781"/>
                <a:gd name="T3" fmla="*/ 0 h 5102"/>
                <a:gd name="T4" fmla="*/ 1770 w 1781"/>
                <a:gd name="T5" fmla="*/ 0 h 5102"/>
                <a:gd name="T6" fmla="*/ 0 w 1781"/>
                <a:gd name="T7" fmla="*/ 5102 h 5102"/>
                <a:gd name="T8" fmla="*/ 9 w 1781"/>
                <a:gd name="T9" fmla="*/ 5102 h 5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1" h="5102">
                  <a:moveTo>
                    <a:pt x="9" y="5102"/>
                  </a:moveTo>
                  <a:lnTo>
                    <a:pt x="1781" y="0"/>
                  </a:lnTo>
                  <a:lnTo>
                    <a:pt x="1770" y="0"/>
                  </a:lnTo>
                  <a:lnTo>
                    <a:pt x="0" y="5102"/>
                  </a:lnTo>
                  <a:lnTo>
                    <a:pt x="9" y="5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12"/>
            <p:cNvSpPr>
              <a:spLocks/>
            </p:cNvSpPr>
            <p:nvPr userDrawn="1"/>
          </p:nvSpPr>
          <p:spPr bwMode="black">
            <a:xfrm>
              <a:off x="5945695" y="2"/>
              <a:ext cx="1357926" cy="6857998"/>
            </a:xfrm>
            <a:custGeom>
              <a:avLst/>
              <a:gdLst>
                <a:gd name="T0" fmla="*/ 9 w 1013"/>
                <a:gd name="T1" fmla="*/ 5116 h 5116"/>
                <a:gd name="T2" fmla="*/ 1013 w 1013"/>
                <a:gd name="T3" fmla="*/ 0 h 5116"/>
                <a:gd name="T4" fmla="*/ 1004 w 1013"/>
                <a:gd name="T5" fmla="*/ 0 h 5116"/>
                <a:gd name="T6" fmla="*/ 0 w 1013"/>
                <a:gd name="T7" fmla="*/ 5116 h 5116"/>
                <a:gd name="T8" fmla="*/ 9 w 1013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3" h="5116">
                  <a:moveTo>
                    <a:pt x="9" y="5116"/>
                  </a:moveTo>
                  <a:lnTo>
                    <a:pt x="1013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97700" y="617699"/>
            <a:ext cx="395248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341354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 bwMode="black">
          <a:xfrm>
            <a:off x="5739926" y="0"/>
            <a:ext cx="6450487" cy="6858000"/>
            <a:chOff x="-7368753" y="-1854009"/>
            <a:chExt cx="6299342" cy="6697306"/>
          </a:xfrm>
        </p:grpSpPr>
        <p:sp>
          <p:nvSpPr>
            <p:cNvPr id="37" name="Freeform 6"/>
            <p:cNvSpPr>
              <a:spLocks/>
            </p:cNvSpPr>
            <p:nvPr userDrawn="1"/>
          </p:nvSpPr>
          <p:spPr bwMode="black">
            <a:xfrm>
              <a:off x="-3543591" y="1231517"/>
              <a:ext cx="2474180" cy="3611780"/>
            </a:xfrm>
            <a:custGeom>
              <a:avLst/>
              <a:gdLst>
                <a:gd name="T0" fmla="*/ 0 w 1890"/>
                <a:gd name="T1" fmla="*/ 2759 h 2759"/>
                <a:gd name="T2" fmla="*/ 12 w 1890"/>
                <a:gd name="T3" fmla="*/ 2759 h 2759"/>
                <a:gd name="T4" fmla="*/ 1890 w 1890"/>
                <a:gd name="T5" fmla="*/ 17 h 2759"/>
                <a:gd name="T6" fmla="*/ 1890 w 1890"/>
                <a:gd name="T7" fmla="*/ 0 h 2759"/>
                <a:gd name="T8" fmla="*/ 0 w 1890"/>
                <a:gd name="T9" fmla="*/ 275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0" h="2759">
                  <a:moveTo>
                    <a:pt x="0" y="2759"/>
                  </a:moveTo>
                  <a:lnTo>
                    <a:pt x="12" y="2759"/>
                  </a:lnTo>
                  <a:lnTo>
                    <a:pt x="1890" y="17"/>
                  </a:lnTo>
                  <a:lnTo>
                    <a:pt x="1890" y="0"/>
                  </a:lnTo>
                  <a:lnTo>
                    <a:pt x="0" y="275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38" name="Freeform 7"/>
            <p:cNvSpPr>
              <a:spLocks/>
            </p:cNvSpPr>
            <p:nvPr userDrawn="1"/>
          </p:nvSpPr>
          <p:spPr bwMode="black">
            <a:xfrm>
              <a:off x="-7368753" y="-1854009"/>
              <a:ext cx="1327417" cy="6697305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7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7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</p:grpSp>
      <p:sp>
        <p:nvSpPr>
          <p:cNvPr id="6" name="Freeform 5"/>
          <p:cNvSpPr/>
          <p:nvPr/>
        </p:nvSpPr>
        <p:spPr bwMode="ltGray">
          <a:xfrm>
            <a:off x="0" y="0"/>
            <a:ext cx="2104575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A5E2"/>
              </a:gs>
              <a:gs pos="50000">
                <a:srgbClr val="00A5E2"/>
              </a:gs>
              <a:gs pos="84000">
                <a:schemeClr val="accent2">
                  <a:alpha val="0"/>
                </a:scheme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6678387" y="2989333"/>
            <a:ext cx="4500000" cy="1440753"/>
          </a:xfrm>
        </p:spPr>
        <p:txBody>
          <a:bodyPr anchor="t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1C17F56-87E6-44BA-BF61-A037E7BD2BFF}" type="datetime1">
              <a:rPr lang="en-US" smtClean="0"/>
              <a:t>4/20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fr-FR"/>
              <a:t>/// Crop Science Division Profile /// September 2019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1902190" y="2134650"/>
            <a:ext cx="4500000" cy="720000"/>
          </a:xfrm>
        </p:spPr>
        <p:txBody>
          <a:bodyPr anchor="b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/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97700" y="617699"/>
            <a:ext cx="395248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678404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ltGray">
          <a:xfrm>
            <a:off x="0" y="0"/>
            <a:ext cx="2104575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74C713"/>
              </a:gs>
              <a:gs pos="50000">
                <a:srgbClr val="74C713"/>
              </a:gs>
              <a:gs pos="84000">
                <a:srgbClr val="74C713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4854344" y="1462158"/>
            <a:ext cx="4500000" cy="1440753"/>
          </a:xfrm>
        </p:spPr>
        <p:txBody>
          <a:bodyPr anchor="b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2A97078-713C-497B-9906-45C18DCC4727}" type="datetime1">
              <a:rPr lang="en-US" smtClean="0"/>
              <a:t>4/20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fr-FR"/>
              <a:t>/// Crop Science Division Profile /// September 2019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48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55681" y="3064854"/>
            <a:ext cx="4500000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3"/>
                </a:solidFill>
              </a:defRPr>
            </a:lvl1pPr>
            <a:lvl2pPr marL="0" indent="0" algn="l">
              <a:buNone/>
              <a:defRPr sz="2400" b="1">
                <a:solidFill>
                  <a:schemeClr val="accent3"/>
                </a:solidFill>
              </a:defRPr>
            </a:lvl2pPr>
            <a:lvl3pPr marL="0" indent="0" algn="l">
              <a:buNone/>
              <a:defRPr sz="2400" b="1">
                <a:solidFill>
                  <a:schemeClr val="accent3"/>
                </a:solidFill>
              </a:defRPr>
            </a:lvl3pPr>
            <a:lvl4pPr marL="0" indent="0" algn="l">
              <a:buNone/>
              <a:defRPr sz="2400" b="1">
                <a:solidFill>
                  <a:schemeClr val="accent3"/>
                </a:solidFill>
              </a:defRPr>
            </a:lvl4pPr>
            <a:lvl5pPr marL="0" indent="0" algn="l">
              <a:buNone/>
              <a:defRPr sz="2400" b="1">
                <a:solidFill>
                  <a:schemeClr val="accent3"/>
                </a:solidFill>
              </a:defRPr>
            </a:lvl5pPr>
            <a:lvl6pPr marL="0" indent="0" algn="l">
              <a:buNone/>
              <a:defRPr sz="2400" b="1">
                <a:solidFill>
                  <a:schemeClr val="accent3"/>
                </a:solidFill>
              </a:defRPr>
            </a:lvl6pPr>
            <a:lvl7pPr marL="0" indent="0" algn="l">
              <a:buNone/>
              <a:defRPr sz="2400" b="1">
                <a:solidFill>
                  <a:schemeClr val="accent3"/>
                </a:solidFill>
              </a:defRPr>
            </a:lvl7pPr>
            <a:lvl8pPr marL="0" indent="0" algn="l">
              <a:buNone/>
              <a:defRPr sz="2400" b="1">
                <a:solidFill>
                  <a:schemeClr val="accent3"/>
                </a:solidFill>
              </a:defRPr>
            </a:lvl8pPr>
            <a:lvl9pPr marL="0" indent="0" algn="l">
              <a:buNone/>
              <a:defRPr sz="24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/>
          </a:p>
        </p:txBody>
      </p:sp>
      <p:grpSp>
        <p:nvGrpSpPr>
          <p:cNvPr id="24" name="Group 23"/>
          <p:cNvGrpSpPr/>
          <p:nvPr/>
        </p:nvGrpSpPr>
        <p:grpSpPr bwMode="black">
          <a:xfrm>
            <a:off x="759608" y="1"/>
            <a:ext cx="4148849" cy="6858000"/>
            <a:chOff x="-13927138" y="-1074738"/>
            <a:chExt cx="4913313" cy="8121651"/>
          </a:xfrm>
          <a:solidFill>
            <a:schemeClr val="bg1"/>
          </a:solidFill>
        </p:grpSpPr>
        <p:sp>
          <p:nvSpPr>
            <p:cNvPr id="26" name="Freeform 6"/>
            <p:cNvSpPr>
              <a:spLocks/>
            </p:cNvSpPr>
            <p:nvPr userDrawn="1"/>
          </p:nvSpPr>
          <p:spPr bwMode="black">
            <a:xfrm>
              <a:off x="-13927138" y="-1074738"/>
              <a:ext cx="2947988" cy="8121651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7"/>
            <p:cNvSpPr>
              <a:spLocks/>
            </p:cNvSpPr>
            <p:nvPr userDrawn="1"/>
          </p:nvSpPr>
          <p:spPr bwMode="black">
            <a:xfrm>
              <a:off x="-10623550" y="-1074738"/>
              <a:ext cx="1609725" cy="8121651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4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97700" y="617699"/>
            <a:ext cx="395248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269252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095DD34-8C31-4C46-9BDF-B30C860BD2C7}" type="datetime1">
              <a:rPr lang="en-US" smtClean="0"/>
              <a:t>4/2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/>
              <a:t>/// Crop Science Division Profile /// September 2019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º›</a:t>
            </a:fld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981820" y="1732751"/>
            <a:ext cx="10798461" cy="4751999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03183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1B6B420-2B1F-4F25-84B9-FA18090E8B02}" type="datetime1">
              <a:rPr lang="en-US" smtClean="0"/>
              <a:t>4/2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/>
              <a:t>/// Crop Science Division Profile /// September 2019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º›</a:t>
            </a:fld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6"/>
          </p:nvPr>
        </p:nvSpPr>
        <p:spPr>
          <a:xfrm>
            <a:off x="981820" y="1732750"/>
            <a:ext cx="5220000" cy="4752001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Inhaltsplatzhalter 12"/>
          <p:cNvSpPr>
            <a:spLocks noGrp="1"/>
          </p:cNvSpPr>
          <p:nvPr>
            <p:ph sz="quarter" idx="17"/>
          </p:nvPr>
        </p:nvSpPr>
        <p:spPr>
          <a:xfrm>
            <a:off x="6559603" y="1732750"/>
            <a:ext cx="5220000" cy="4752001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29849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  <p15:guide id="5" pos="619">
          <p15:clr>
            <a:srgbClr val="FBAE40"/>
          </p15:clr>
        </p15:guide>
        <p15:guide id="6" pos="7423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80281" y="1732751"/>
            <a:ext cx="10800000" cy="47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981821" y="181938"/>
            <a:ext cx="10798460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1121231" y="6617933"/>
            <a:ext cx="488950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700">
                <a:noFill/>
              </a:defRPr>
            </a:lvl1pPr>
            <a:lvl2pPr marL="1588" indent="0" algn="r">
              <a:defRPr sz="700">
                <a:noFill/>
              </a:defRPr>
            </a:lvl2pPr>
            <a:lvl3pPr marL="0" indent="0" algn="r">
              <a:defRPr sz="700">
                <a:noFill/>
              </a:defRPr>
            </a:lvl3pPr>
            <a:lvl4pPr marL="0" indent="0" algn="r">
              <a:tabLst/>
              <a:defRPr sz="700">
                <a:noFill/>
              </a:defRPr>
            </a:lvl4pPr>
            <a:lvl5pPr marL="0" indent="0" algn="r">
              <a:defRPr sz="700">
                <a:noFill/>
              </a:defRPr>
            </a:lvl5pPr>
            <a:lvl6pPr marL="0" indent="0" algn="r">
              <a:defRPr sz="700">
                <a:noFill/>
              </a:defRPr>
            </a:lvl6pPr>
            <a:lvl7pPr marL="0" indent="0" algn="r">
              <a:defRPr sz="700">
                <a:noFill/>
              </a:defRPr>
            </a:lvl7pPr>
            <a:lvl8pPr marL="0" indent="0" algn="r">
              <a:defRPr sz="700">
                <a:noFill/>
              </a:defRPr>
            </a:lvl8pPr>
            <a:lvl9pPr marL="0" indent="0" algn="r">
              <a:defRPr sz="700">
                <a:noFill/>
              </a:defRPr>
            </a:lvl9pPr>
          </a:lstStyle>
          <a:p>
            <a:fld id="{72FAB122-2869-43AB-A5C4-FDA5B8397FCE}" type="datetime1">
              <a:rPr lang="en-US" smtClean="0"/>
              <a:t>4/2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974672" y="6617933"/>
            <a:ext cx="8640000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700">
                <a:solidFill>
                  <a:schemeClr val="accent1"/>
                </a:solidFill>
              </a:defRPr>
            </a:lvl1pPr>
            <a:lvl2pPr marL="0" indent="0">
              <a:defRPr sz="700">
                <a:solidFill>
                  <a:schemeClr val="accent1"/>
                </a:solidFill>
              </a:defRPr>
            </a:lvl2pPr>
            <a:lvl3pPr marL="0" indent="0">
              <a:defRPr sz="700">
                <a:solidFill>
                  <a:schemeClr val="accent1"/>
                </a:solidFill>
              </a:defRPr>
            </a:lvl3pPr>
            <a:lvl4pPr marL="0" indent="0">
              <a:defRPr sz="700">
                <a:solidFill>
                  <a:schemeClr val="accent1"/>
                </a:solidFill>
              </a:defRPr>
            </a:lvl4pPr>
            <a:lvl5pPr marL="0" indent="0">
              <a:defRPr sz="700">
                <a:solidFill>
                  <a:schemeClr val="accent1"/>
                </a:solidFill>
              </a:defRPr>
            </a:lvl5pPr>
            <a:lvl6pPr marL="0" indent="0">
              <a:tabLst/>
              <a:defRPr sz="700">
                <a:solidFill>
                  <a:schemeClr val="accent1"/>
                </a:solidFill>
              </a:defRPr>
            </a:lvl6pPr>
            <a:lvl7pPr marL="0" indent="0">
              <a:tabLst/>
              <a:defRPr sz="700">
                <a:solidFill>
                  <a:schemeClr val="accent1"/>
                </a:solidFill>
              </a:defRPr>
            </a:lvl7pPr>
            <a:lvl8pPr marL="0" indent="0">
              <a:defRPr sz="700">
                <a:solidFill>
                  <a:schemeClr val="accent1"/>
                </a:solidFill>
              </a:defRPr>
            </a:lvl8pPr>
            <a:lvl9pPr marL="0" indent="0">
              <a:defRPr sz="700">
                <a:solidFill>
                  <a:schemeClr val="accent1"/>
                </a:solidFill>
              </a:defRPr>
            </a:lvl9pPr>
          </a:lstStyle>
          <a:p>
            <a:r>
              <a:rPr lang="fr-FR"/>
              <a:t>/// Crop Science Division Profile /// September 2019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95843" y="6617933"/>
            <a:ext cx="392326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700">
                <a:solidFill>
                  <a:schemeClr val="accent2"/>
                </a:solidFill>
              </a:defRPr>
            </a:lvl1pPr>
            <a:lvl2pPr marL="0" indent="0" algn="ctr">
              <a:defRPr sz="700">
                <a:solidFill>
                  <a:schemeClr val="accent2"/>
                </a:solidFill>
              </a:defRPr>
            </a:lvl2pPr>
            <a:lvl3pPr marL="0" indent="0" algn="ctr">
              <a:defRPr sz="700">
                <a:solidFill>
                  <a:schemeClr val="accent2"/>
                </a:solidFill>
              </a:defRPr>
            </a:lvl3pPr>
            <a:lvl4pPr marL="0" indent="0" algn="ctr">
              <a:defRPr sz="700">
                <a:solidFill>
                  <a:schemeClr val="accent2"/>
                </a:solidFill>
              </a:defRPr>
            </a:lvl4pPr>
            <a:lvl5pPr marL="0" indent="0" algn="ctr">
              <a:defRPr sz="700">
                <a:solidFill>
                  <a:schemeClr val="accent2"/>
                </a:solidFill>
              </a:defRPr>
            </a:lvl5pPr>
            <a:lvl6pPr marL="0" indent="0" algn="ctr">
              <a:defRPr sz="700">
                <a:solidFill>
                  <a:schemeClr val="accent2"/>
                </a:solidFill>
              </a:defRPr>
            </a:lvl6pPr>
            <a:lvl7pPr marL="0" indent="0" algn="ctr">
              <a:defRPr sz="700">
                <a:solidFill>
                  <a:schemeClr val="accent2"/>
                </a:solidFill>
              </a:defRPr>
            </a:lvl7pPr>
            <a:lvl8pPr marL="0" indent="0" algn="ctr">
              <a:defRPr sz="700">
                <a:solidFill>
                  <a:schemeClr val="accent2"/>
                </a:solidFill>
              </a:defRPr>
            </a:lvl8pPr>
            <a:lvl9pPr marL="0" indent="0" algn="ctr">
              <a:defRPr sz="700">
                <a:solidFill>
                  <a:schemeClr val="accent2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" name="empower - DO NOT DELETE!!!" hidden="1"/>
          <p:cNvSpPr/>
          <p:nvPr>
            <p:custDataLst>
              <p:tags r:id="rId19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8" name="MSIPCMContentMarking" descr="{&quot;HashCode&quot;:-242339457,&quot;Placement&quot;:&quot;Footer&quot;}">
            <a:extLst>
              <a:ext uri="{FF2B5EF4-FFF2-40B4-BE49-F238E27FC236}">
                <a16:creationId xmlns:a16="http://schemas.microsoft.com/office/drawing/2014/main" id="{FAC00F38-8008-4FCA-B51F-A7ECA5874CA4}"/>
              </a:ext>
            </a:extLst>
          </p:cNvPr>
          <p:cNvSpPr txBox="1"/>
          <p:nvPr userDrawn="1"/>
        </p:nvSpPr>
        <p:spPr bwMode="gray">
          <a:xfrm>
            <a:off x="10317297" y="6390570"/>
            <a:ext cx="1873115" cy="46742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s-ES" sz="2200" b="0" i="0" u="none" baseline="0">
                <a:solidFill>
                  <a:srgbClr val="FF8939"/>
                </a:solidFill>
                <a:latin typeface="Calibri" panose="020F0502020204030204" pitchFamily="34" charset="0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3814561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6" r:id="rId1"/>
    <p:sldLayoutId id="2147484357" r:id="rId2"/>
    <p:sldLayoutId id="2147484358" r:id="rId3"/>
    <p:sldLayoutId id="2147484359" r:id="rId4"/>
    <p:sldLayoutId id="2147484360" r:id="rId5"/>
    <p:sldLayoutId id="2147484361" r:id="rId6"/>
    <p:sldLayoutId id="2147484362" r:id="rId7"/>
    <p:sldLayoutId id="2147484363" r:id="rId8"/>
    <p:sldLayoutId id="2147484364" r:id="rId9"/>
    <p:sldLayoutId id="2147484365" r:id="rId10"/>
    <p:sldLayoutId id="2147484366" r:id="rId11"/>
    <p:sldLayoutId id="2147484367" r:id="rId12"/>
    <p:sldLayoutId id="2147484368" r:id="rId13"/>
    <p:sldLayoutId id="2147484369" r:id="rId14"/>
    <p:sldLayoutId id="2147484370" r:id="rId15"/>
    <p:sldLayoutId id="2147484371" r:id="rId16"/>
    <p:sldLayoutId id="2147484372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0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1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2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3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3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3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3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3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1.png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4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image" Target="../media/image15.png"/><Relationship Id="rId7" Type="http://schemas.openxmlformats.org/officeDocument/2006/relationships/image" Target="../media/image18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0.xml"/><Relationship Id="rId6" Type="http://schemas.openxmlformats.org/officeDocument/2006/relationships/hyperlink" Target="https://www.flaticon.com/free-icon/pen-filled-writing-tool_60471" TargetMode="External"/><Relationship Id="rId5" Type="http://schemas.openxmlformats.org/officeDocument/2006/relationships/image" Target="../media/image17.png"/><Relationship Id="rId4" Type="http://schemas.openxmlformats.org/officeDocument/2006/relationships/image" Target="../media/image16.sv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1.png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61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ubtitle 12"/>
          <p:cNvSpPr>
            <a:spLocks noGrp="1"/>
          </p:cNvSpPr>
          <p:nvPr>
            <p:ph type="subTitle" idx="1"/>
          </p:nvPr>
        </p:nvSpPr>
        <p:spPr>
          <a:xfrm>
            <a:off x="645262" y="2197322"/>
            <a:ext cx="3620552" cy="592952"/>
          </a:xfrm>
        </p:spPr>
        <p:txBody>
          <a:bodyPr/>
          <a:lstStyle/>
          <a:p>
            <a:r>
              <a:rPr lang="es-AR" dirty="0"/>
              <a:t>Presentación</a:t>
            </a:r>
            <a:r>
              <a:rPr lang="en-US" dirty="0"/>
              <a:t> 2023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925690" y="6617933"/>
            <a:ext cx="8640000" cy="108000"/>
          </a:xfrm>
        </p:spPr>
        <p:txBody>
          <a:bodyPr/>
          <a:lstStyle/>
          <a:p>
            <a:r>
              <a:rPr lang="en-US"/>
              <a:t>/// Bayer 16:9 Template /// September 2018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1551" y="2867217"/>
            <a:ext cx="3796179" cy="561421"/>
          </a:xfrm>
        </p:spPr>
        <p:txBody>
          <a:bodyPr/>
          <a:lstStyle/>
          <a:p>
            <a:r>
              <a:rPr lang="en-US" sz="2400" dirty="0"/>
              <a:t>Customer Financ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Abril 2023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4"/>
          </p:nvPr>
        </p:nvSpPr>
        <p:spPr/>
      </p:sp>
      <p:sp>
        <p:nvSpPr>
          <p:cNvPr id="15" name="Parallelogram 32"/>
          <p:cNvSpPr/>
          <p:nvPr/>
        </p:nvSpPr>
        <p:spPr bwMode="gray">
          <a:xfrm>
            <a:off x="4086231" y="-724"/>
            <a:ext cx="4032000" cy="6858724"/>
          </a:xfrm>
          <a:prstGeom prst="parallelogram">
            <a:avLst>
              <a:gd name="adj" fmla="val 32935"/>
            </a:avLst>
          </a:prstGeom>
          <a:blipFill>
            <a:blip r:embed="rId3"/>
            <a:srcRect/>
            <a:stretch>
              <a:fillRect l="-6703" r="-670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Parallelogram 37"/>
          <p:cNvSpPr/>
          <p:nvPr/>
        </p:nvSpPr>
        <p:spPr bwMode="gray">
          <a:xfrm>
            <a:off x="6761681" y="0"/>
            <a:ext cx="4032000" cy="6858724"/>
          </a:xfrm>
          <a:custGeom>
            <a:avLst/>
            <a:gdLst/>
            <a:ahLst/>
            <a:cxnLst/>
            <a:rect l="l" t="t" r="r" b="b"/>
            <a:pathLst>
              <a:path w="4032000" h="6858724">
                <a:moveTo>
                  <a:pt x="1327939" y="0"/>
                </a:moveTo>
                <a:lnTo>
                  <a:pt x="4032000" y="0"/>
                </a:lnTo>
                <a:lnTo>
                  <a:pt x="2780422" y="6464325"/>
                </a:lnTo>
                <a:lnTo>
                  <a:pt x="517853" y="6858724"/>
                </a:lnTo>
                <a:lnTo>
                  <a:pt x="0" y="6858724"/>
                </a:lnTo>
                <a:close/>
              </a:path>
            </a:pathLst>
          </a:custGeom>
          <a:blipFill>
            <a:blip r:embed="rId4"/>
            <a:srcRect/>
            <a:stretch>
              <a:fillRect l="-105929" r="-4923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Parallelogram 38"/>
          <p:cNvSpPr/>
          <p:nvPr/>
        </p:nvSpPr>
        <p:spPr bwMode="gray">
          <a:xfrm>
            <a:off x="9565690" y="0"/>
            <a:ext cx="2627107" cy="6464770"/>
          </a:xfrm>
          <a:custGeom>
            <a:avLst/>
            <a:gdLst/>
            <a:ahLst/>
            <a:cxnLst/>
            <a:rect l="l" t="t" r="r" b="b"/>
            <a:pathLst>
              <a:path w="2627107" h="6464770">
                <a:moveTo>
                  <a:pt x="1251664" y="0"/>
                </a:moveTo>
                <a:lnTo>
                  <a:pt x="2627107" y="0"/>
                </a:lnTo>
                <a:lnTo>
                  <a:pt x="2627107" y="6007241"/>
                </a:lnTo>
                <a:lnTo>
                  <a:pt x="2624724" y="6007241"/>
                </a:lnTo>
                <a:lnTo>
                  <a:pt x="2624723" y="6007241"/>
                </a:lnTo>
                <a:lnTo>
                  <a:pt x="0" y="6464770"/>
                </a:lnTo>
                <a:close/>
              </a:path>
            </a:pathLst>
          </a:custGeom>
          <a:blipFill>
            <a:blip r:embed="rId5"/>
            <a:srcRect/>
            <a:stretch>
              <a:fillRect l="-22293" r="-2229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7" name="Straight Connector 6"/>
          <p:cNvCxnSpPr/>
          <p:nvPr/>
        </p:nvCxnSpPr>
        <p:spPr bwMode="gray">
          <a:xfrm flipH="1">
            <a:off x="6787822" y="-724"/>
            <a:ext cx="1330409" cy="6858724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 bwMode="gray">
          <a:xfrm flipH="1">
            <a:off x="4086231" y="-724"/>
            <a:ext cx="1330409" cy="6858724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 bwMode="gray">
          <a:xfrm flipH="1">
            <a:off x="9566722" y="-724"/>
            <a:ext cx="1253994" cy="646477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Imagen 19">
            <a:extLst>
              <a:ext uri="{FF2B5EF4-FFF2-40B4-BE49-F238E27FC236}">
                <a16:creationId xmlns:a16="http://schemas.microsoft.com/office/drawing/2014/main" id="{4ABD9B0D-5AC5-4B5C-9A41-4C873BBFD39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59533" y="826524"/>
            <a:ext cx="1991273" cy="44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4808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21E06605-E19E-4ED2-A4D6-FCD7358592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b="1" dirty="0"/>
              <a:t>Customer Financing</a:t>
            </a: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202CB333-9F6E-497E-9847-6AA7D20783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2</a:t>
            </a:fld>
            <a:endParaRPr lang="en-US"/>
          </a:p>
        </p:txBody>
      </p:sp>
      <p:sp>
        <p:nvSpPr>
          <p:cNvPr id="15" name="Subtítulo 3">
            <a:extLst>
              <a:ext uri="{FF2B5EF4-FFF2-40B4-BE49-F238E27FC236}">
                <a16:creationId xmlns:a16="http://schemas.microsoft.com/office/drawing/2014/main" id="{E73E5A9B-1B7B-494C-AE18-EB34CD4D7DCA}"/>
              </a:ext>
            </a:extLst>
          </p:cNvPr>
          <p:cNvSpPr txBox="1">
            <a:spLocks/>
          </p:cNvSpPr>
          <p:nvPr/>
        </p:nvSpPr>
        <p:spPr bwMode="gray">
          <a:xfrm>
            <a:off x="981820" y="1786789"/>
            <a:ext cx="10710827" cy="443465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AR" dirty="0"/>
              <a:t>Consiste en facilitar al cliente de Bayer herramientas financieras de terceros. Ofreciendo al cliente alternativas de financiamiento para la compra de insumos de Bayer </a:t>
            </a:r>
            <a:r>
              <a:rPr lang="es-AR" dirty="0" err="1"/>
              <a:t>Crop</a:t>
            </a:r>
            <a:r>
              <a:rPr lang="es-AR" dirty="0"/>
              <a:t> </a:t>
            </a:r>
            <a:r>
              <a:rPr lang="es-AR" dirty="0" err="1"/>
              <a:t>Science</a:t>
            </a:r>
            <a:r>
              <a:rPr lang="es-AR" dirty="0"/>
              <a:t> a través de un Banco, una SGR o bien cualquier entidad financiera. </a:t>
            </a:r>
          </a:p>
          <a:p>
            <a:r>
              <a:rPr lang="es-AR" dirty="0"/>
              <a:t>Facilitar el financiamiento a través de herramientas de terceros, posee beneficios muy importantes para Bayer. </a:t>
            </a:r>
            <a:endParaRPr lang="es-AR" sz="2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s-AR" i="1" dirty="0"/>
              <a:t>Reduce los plazos de cobranza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s-AR" i="1" dirty="0"/>
              <a:t>Disminuye la incobrabilidad ya que el riesgo se traspasa a la entidad financiera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s-AR" i="1" dirty="0"/>
              <a:t>Es determinante para la Venta por sus beneficios financieros (tasa más baja o negativa frente a Inflación/</a:t>
            </a:r>
            <a:r>
              <a:rPr lang="es-AR" i="1" dirty="0" err="1"/>
              <a:t>Dolar</a:t>
            </a:r>
            <a:r>
              <a:rPr lang="es-AR" i="1" dirty="0"/>
              <a:t>) lo que saca ventaja a la hora de elegir un proveedor de insumos agropecuarios.</a:t>
            </a:r>
          </a:p>
          <a:p>
            <a:r>
              <a:rPr lang="es-AR" dirty="0"/>
              <a:t>Nuestros competidores también realizan estas acciones, inclusive a veces de manera más agresiva. </a:t>
            </a:r>
          </a:p>
        </p:txBody>
      </p:sp>
      <p:pic>
        <p:nvPicPr>
          <p:cNvPr id="18" name="Imagen 17">
            <a:extLst>
              <a:ext uri="{FF2B5EF4-FFF2-40B4-BE49-F238E27FC236}">
                <a16:creationId xmlns:a16="http://schemas.microsoft.com/office/drawing/2014/main" id="{07129FCF-8907-4CDB-BEAB-DCB24B5CE1A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6337" y="6424365"/>
            <a:ext cx="1508233" cy="343897"/>
          </a:xfrm>
          <a:prstGeom prst="rect">
            <a:avLst/>
          </a:prstGeom>
        </p:spPr>
      </p:pic>
      <p:sp>
        <p:nvSpPr>
          <p:cNvPr id="7" name="Rectangle 9">
            <a:extLst>
              <a:ext uri="{FF2B5EF4-FFF2-40B4-BE49-F238E27FC236}">
                <a16:creationId xmlns:a16="http://schemas.microsoft.com/office/drawing/2014/main" id="{6EEBFCC7-C6E8-4D18-AC39-C8756E747CBA}"/>
              </a:ext>
            </a:extLst>
          </p:cNvPr>
          <p:cNvSpPr/>
          <p:nvPr/>
        </p:nvSpPr>
        <p:spPr>
          <a:xfrm>
            <a:off x="981820" y="1188733"/>
            <a:ext cx="3646768" cy="395134"/>
          </a:xfrm>
          <a:prstGeom prst="rect">
            <a:avLst/>
          </a:prstGeom>
          <a:solidFill>
            <a:schemeClr val="accent1"/>
          </a:solidFill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anchor="ctr">
            <a:noAutofit/>
          </a:bodyPr>
          <a:lstStyle/>
          <a:p>
            <a:pPr algn="ctr">
              <a:spcAft>
                <a:spcPts val="0"/>
              </a:spcAft>
            </a:pPr>
            <a:r>
              <a:rPr lang="es-AR" sz="1600" b="1" dirty="0">
                <a:effectLst/>
                <a:latin typeface="+mj-lt"/>
                <a:ea typeface="DengXian" panose="02010600030101010101" pitchFamily="2" charset="-122"/>
                <a:cs typeface="Calibri" panose="020F0502020204030204" pitchFamily="34" charset="0"/>
              </a:rPr>
              <a:t>Función de Cus</a:t>
            </a:r>
            <a:r>
              <a:rPr lang="es-AR" sz="1600" b="1" dirty="0">
                <a:latin typeface="+mj-lt"/>
                <a:ea typeface="DengXian" panose="02010600030101010101" pitchFamily="2" charset="-122"/>
                <a:cs typeface="Calibri" panose="020F0502020204030204" pitchFamily="34" charset="0"/>
              </a:rPr>
              <a:t>tomer Financing</a:t>
            </a:r>
            <a:endParaRPr lang="es-AR" sz="1400" dirty="0">
              <a:effectLst/>
              <a:latin typeface="+mj-lt"/>
              <a:ea typeface="DengXian" panose="02010600030101010101" pitchFamily="2" charset="-122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0640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1E0EB02B-AF90-482D-8EC4-25A6762318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b="1" dirty="0"/>
              <a:t>SGR – Sociedad de Garantía Reciproca </a:t>
            </a: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125138F3-4F0F-4E79-8B1E-39B46AB130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3</a:t>
            </a:fld>
            <a:endParaRPr lang="en-US"/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98003586-7629-47B8-94A7-03308A06B94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1820" y="1797702"/>
            <a:ext cx="9783590" cy="4929327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s-AR" dirty="0"/>
              <a:t>La SGR es una asociación entre Bayer (Socio Protector) y sus Clientes (Pequeñas y Medianas Empresas - </a:t>
            </a:r>
            <a:r>
              <a:rPr lang="es-AR" dirty="0" err="1"/>
              <a:t>PyMEs</a:t>
            </a:r>
            <a:r>
              <a:rPr lang="es-AR" dirty="0"/>
              <a:t>) que tiene como objetivo facilitar el acceso a créditos a las </a:t>
            </a:r>
            <a:r>
              <a:rPr lang="es-AR" dirty="0" err="1"/>
              <a:t>PyMEs</a:t>
            </a:r>
            <a:r>
              <a:rPr lang="es-AR" dirty="0"/>
              <a:t> a través del otorgamiento de garantías que los clientes podrán presentar ante Bancos o el Mercado de Capitales para obtener financiación en mejores condiciones de plazo y tasa.</a:t>
            </a:r>
          </a:p>
          <a:p>
            <a:pPr marL="342900" lvl="0" indent="-342900">
              <a:lnSpc>
                <a:spcPct val="107000"/>
              </a:lnSpc>
              <a:buFont typeface="Wingdings" panose="05000000000000000000" pitchFamily="2" charset="2"/>
              <a:buChar char="Ø"/>
            </a:pPr>
            <a:r>
              <a:rPr lang="es-AR" i="1" dirty="0"/>
              <a:t>Financiación en pesos a 360 dias.</a:t>
            </a:r>
          </a:p>
          <a:p>
            <a:pPr marL="342900" lvl="0" indent="-342900">
              <a:lnSpc>
                <a:spcPct val="107000"/>
              </a:lnSpc>
              <a:buFont typeface="Wingdings" panose="05000000000000000000" pitchFamily="2" charset="2"/>
              <a:buChar char="Ø"/>
            </a:pPr>
            <a:r>
              <a:rPr lang="es-AR" i="1" dirty="0"/>
              <a:t>Acceso al financiamiento en el mercado de capitales a través del descuento de Cheques de Pago Diferido (propios o de terceros).</a:t>
            </a:r>
          </a:p>
          <a:p>
            <a:pPr marL="342900" lvl="0" indent="-342900">
              <a:lnSpc>
                <a:spcPct val="107000"/>
              </a:lnSpc>
              <a:buFont typeface="Wingdings" panose="05000000000000000000" pitchFamily="2" charset="2"/>
              <a:buChar char="Ø"/>
            </a:pPr>
            <a:r>
              <a:rPr lang="es-AR" i="1" dirty="0"/>
              <a:t>Tasas de interés atractivas para los clientes.</a:t>
            </a:r>
          </a:p>
          <a:p>
            <a:pPr marL="342900" lvl="0" indent="-342900">
              <a:lnSpc>
                <a:spcPct val="107000"/>
              </a:lnSpc>
              <a:buFont typeface="Wingdings" panose="05000000000000000000" pitchFamily="2" charset="2"/>
              <a:buChar char="Ø"/>
            </a:pPr>
            <a:r>
              <a:rPr lang="es-AR" i="1" dirty="0"/>
              <a:t>No consumen cupos de créditos asignados por los bancos, ni las líneas de créditos asignadas por los analistas de créditos de Bayer.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es-AR" i="1" dirty="0"/>
              <a:t>Beneficios de Pago Contado.</a:t>
            </a:r>
          </a:p>
          <a:p>
            <a:endParaRPr lang="es-AR" dirty="0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848B0599-217E-4CAD-B5B5-575A7E95C3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6337" y="6399410"/>
            <a:ext cx="1508233" cy="343897"/>
          </a:xfrm>
          <a:prstGeom prst="rect">
            <a:avLst/>
          </a:prstGeom>
        </p:spPr>
      </p:pic>
      <p:sp>
        <p:nvSpPr>
          <p:cNvPr id="9" name="Rectangle 9">
            <a:extLst>
              <a:ext uri="{FF2B5EF4-FFF2-40B4-BE49-F238E27FC236}">
                <a16:creationId xmlns:a16="http://schemas.microsoft.com/office/drawing/2014/main" id="{C5C8E55C-56FA-49B6-857A-EA66066C1AE2}"/>
              </a:ext>
            </a:extLst>
          </p:cNvPr>
          <p:cNvSpPr/>
          <p:nvPr/>
        </p:nvSpPr>
        <p:spPr>
          <a:xfrm>
            <a:off x="981820" y="1190421"/>
            <a:ext cx="2111576" cy="395134"/>
          </a:xfrm>
          <a:prstGeom prst="rect">
            <a:avLst/>
          </a:prstGeom>
          <a:solidFill>
            <a:schemeClr val="accent1"/>
          </a:solidFill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anchor="ctr">
            <a:noAutofit/>
          </a:bodyPr>
          <a:lstStyle/>
          <a:p>
            <a:pPr algn="ctr">
              <a:spcAft>
                <a:spcPts val="0"/>
              </a:spcAft>
            </a:pPr>
            <a:r>
              <a:rPr lang="es-AR" sz="1600" b="1" dirty="0">
                <a:effectLst/>
                <a:latin typeface="+mj-lt"/>
                <a:ea typeface="DengXian" panose="02010600030101010101" pitchFamily="2" charset="-122"/>
                <a:cs typeface="Calibri" panose="020F0502020204030204" pitchFamily="34" charset="0"/>
              </a:rPr>
              <a:t>Función de </a:t>
            </a:r>
            <a:r>
              <a:rPr lang="es-AR" sz="1600" b="1" dirty="0">
                <a:latin typeface="+mj-lt"/>
                <a:ea typeface="DengXian" panose="02010600030101010101" pitchFamily="2" charset="-122"/>
                <a:cs typeface="Calibri" panose="020F0502020204030204" pitchFamily="34" charset="0"/>
              </a:rPr>
              <a:t>SGR</a:t>
            </a:r>
            <a:endParaRPr lang="es-AR" sz="1400" dirty="0">
              <a:effectLst/>
              <a:latin typeface="+mj-lt"/>
              <a:ea typeface="DengXian" panose="02010600030101010101" pitchFamily="2" charset="-122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2930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4B040B13-EDFA-48E9-BDF1-78D1ED4AF3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1821" y="543548"/>
            <a:ext cx="10798460" cy="502389"/>
          </a:xfrm>
        </p:spPr>
        <p:txBody>
          <a:bodyPr/>
          <a:lstStyle/>
          <a:p>
            <a:r>
              <a:rPr lang="es-ES" b="1" dirty="0"/>
              <a:t>Plataformas utilizadas </a:t>
            </a:r>
            <a:endParaRPr lang="es-AR" b="1" dirty="0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8E8FAB92-C59A-4BF4-A6F5-AF40AC93A0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4</a:t>
            </a:fld>
            <a:endParaRPr lang="en-US"/>
          </a:p>
        </p:txBody>
      </p:sp>
      <p:grpSp>
        <p:nvGrpSpPr>
          <p:cNvPr id="10" name="Grupo 9">
            <a:extLst>
              <a:ext uri="{FF2B5EF4-FFF2-40B4-BE49-F238E27FC236}">
                <a16:creationId xmlns:a16="http://schemas.microsoft.com/office/drawing/2014/main" id="{B6C94668-DD9C-4F19-8317-3203AFE135EE}"/>
              </a:ext>
            </a:extLst>
          </p:cNvPr>
          <p:cNvGrpSpPr/>
          <p:nvPr/>
        </p:nvGrpSpPr>
        <p:grpSpPr>
          <a:xfrm>
            <a:off x="2939005" y="1683639"/>
            <a:ext cx="6272858" cy="857759"/>
            <a:chOff x="3077553" y="1040042"/>
            <a:chExt cx="5964850" cy="857759"/>
          </a:xfrm>
        </p:grpSpPr>
        <p:sp>
          <p:nvSpPr>
            <p:cNvPr id="11" name="Right Bracket 41">
              <a:extLst>
                <a:ext uri="{FF2B5EF4-FFF2-40B4-BE49-F238E27FC236}">
                  <a16:creationId xmlns:a16="http://schemas.microsoft.com/office/drawing/2014/main" id="{0E30CE53-98C1-4719-B10E-309980481FD2}"/>
                </a:ext>
              </a:extLst>
            </p:cNvPr>
            <p:cNvSpPr/>
            <p:nvPr/>
          </p:nvSpPr>
          <p:spPr>
            <a:xfrm rot="16200000">
              <a:off x="5834011" y="-1310590"/>
              <a:ext cx="451933" cy="5964850"/>
            </a:xfrm>
            <a:prstGeom prst="rightBracket">
              <a:avLst>
                <a:gd name="adj" fmla="val 83320"/>
              </a:avLst>
            </a:prstGeom>
            <a:ln>
              <a:solidFill>
                <a:schemeClr val="bg2">
                  <a:lumMod val="60000"/>
                  <a:lumOff val="40000"/>
                </a:schemeClr>
              </a:solidFill>
              <a:prstDash val="sysDot"/>
              <a:headEnd type="triangle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>
                <a:latin typeface="+mj-lt"/>
              </a:endParaRPr>
            </a:p>
          </p:txBody>
        </p:sp>
        <p:grpSp>
          <p:nvGrpSpPr>
            <p:cNvPr id="12" name="Grupo 11">
              <a:extLst>
                <a:ext uri="{FF2B5EF4-FFF2-40B4-BE49-F238E27FC236}">
                  <a16:creationId xmlns:a16="http://schemas.microsoft.com/office/drawing/2014/main" id="{99A9FB6B-81EA-4564-8818-6E98840682A2}"/>
                </a:ext>
              </a:extLst>
            </p:cNvPr>
            <p:cNvGrpSpPr/>
            <p:nvPr/>
          </p:nvGrpSpPr>
          <p:grpSpPr>
            <a:xfrm>
              <a:off x="5589294" y="1040042"/>
              <a:ext cx="811651" cy="811651"/>
              <a:chOff x="5589294" y="1040042"/>
              <a:chExt cx="811651" cy="811651"/>
            </a:xfrm>
          </p:grpSpPr>
          <p:sp>
            <p:nvSpPr>
              <p:cNvPr id="13" name="Elipse 12">
                <a:extLst>
                  <a:ext uri="{FF2B5EF4-FFF2-40B4-BE49-F238E27FC236}">
                    <a16:creationId xmlns:a16="http://schemas.microsoft.com/office/drawing/2014/main" id="{0838462D-9A09-4B6B-BD3F-CB384F92E153}"/>
                  </a:ext>
                </a:extLst>
              </p:cNvPr>
              <p:cNvSpPr/>
              <p:nvPr/>
            </p:nvSpPr>
            <p:spPr bwMode="gray">
              <a:xfrm>
                <a:off x="5589294" y="1040042"/>
                <a:ext cx="811651" cy="811651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MX"/>
              </a:p>
            </p:txBody>
          </p:sp>
          <p:pic>
            <p:nvPicPr>
              <p:cNvPr id="14" name="Imagen 21" descr="hombrecito.png">
                <a:extLst>
                  <a:ext uri="{FF2B5EF4-FFF2-40B4-BE49-F238E27FC236}">
                    <a16:creationId xmlns:a16="http://schemas.microsoft.com/office/drawing/2014/main" id="{AC3C9CE6-E076-4865-9771-BD113866DF6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59994" y="1147355"/>
                <a:ext cx="470250" cy="520814"/>
              </a:xfrm>
              <a:prstGeom prst="rect">
                <a:avLst/>
              </a:prstGeom>
            </p:spPr>
          </p:pic>
        </p:grp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20730D1C-F429-4A8D-9F13-E1A19E455A13}"/>
              </a:ext>
            </a:extLst>
          </p:cNvPr>
          <p:cNvSpPr txBox="1"/>
          <p:nvPr/>
        </p:nvSpPr>
        <p:spPr bwMode="gray">
          <a:xfrm>
            <a:off x="1448153" y="2603208"/>
            <a:ext cx="3169784" cy="594111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s-AR" b="1" dirty="0"/>
              <a:t>Customer Financing</a:t>
            </a:r>
            <a:endParaRPr lang="es-AR" dirty="0"/>
          </a:p>
        </p:txBody>
      </p:sp>
      <p:sp>
        <p:nvSpPr>
          <p:cNvPr id="24" name="TextBox 9">
            <a:extLst>
              <a:ext uri="{FF2B5EF4-FFF2-40B4-BE49-F238E27FC236}">
                <a16:creationId xmlns:a16="http://schemas.microsoft.com/office/drawing/2014/main" id="{D9AECE18-0DAA-4695-9DA6-068B194F082F}"/>
              </a:ext>
            </a:extLst>
          </p:cNvPr>
          <p:cNvSpPr txBox="1"/>
          <p:nvPr/>
        </p:nvSpPr>
        <p:spPr bwMode="gray">
          <a:xfrm>
            <a:off x="7636332" y="2583899"/>
            <a:ext cx="3169784" cy="61342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s-AR" b="1" dirty="0"/>
              <a:t>SGR</a:t>
            </a:r>
            <a:endParaRPr lang="es-AR" dirty="0"/>
          </a:p>
        </p:txBody>
      </p:sp>
      <p:sp>
        <p:nvSpPr>
          <p:cNvPr id="26" name="Right Bracket 41">
            <a:extLst>
              <a:ext uri="{FF2B5EF4-FFF2-40B4-BE49-F238E27FC236}">
                <a16:creationId xmlns:a16="http://schemas.microsoft.com/office/drawing/2014/main" id="{A1CCF49D-6813-44FC-9319-B81B579CD661}"/>
              </a:ext>
            </a:extLst>
          </p:cNvPr>
          <p:cNvSpPr/>
          <p:nvPr/>
        </p:nvSpPr>
        <p:spPr>
          <a:xfrm rot="16200000">
            <a:off x="2834658" y="1389960"/>
            <a:ext cx="208694" cy="4268039"/>
          </a:xfrm>
          <a:prstGeom prst="rightBracket">
            <a:avLst>
              <a:gd name="adj" fmla="val 83320"/>
            </a:avLst>
          </a:prstGeom>
          <a:ln>
            <a:solidFill>
              <a:schemeClr val="bg2">
                <a:lumMod val="60000"/>
                <a:lumOff val="40000"/>
              </a:schemeClr>
            </a:solidFill>
            <a:prstDash val="sysDot"/>
            <a:headEnd type="triangl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100">
              <a:latin typeface="+mj-lt"/>
            </a:endParaRPr>
          </a:p>
        </p:txBody>
      </p:sp>
      <p:cxnSp>
        <p:nvCxnSpPr>
          <p:cNvPr id="27" name="Conector recto de flecha 70">
            <a:extLst>
              <a:ext uri="{FF2B5EF4-FFF2-40B4-BE49-F238E27FC236}">
                <a16:creationId xmlns:a16="http://schemas.microsoft.com/office/drawing/2014/main" id="{327C1241-EAAE-4776-8F13-7C8DF61A6664}"/>
              </a:ext>
            </a:extLst>
          </p:cNvPr>
          <p:cNvCxnSpPr>
            <a:cxnSpLocks/>
          </p:cNvCxnSpPr>
          <p:nvPr/>
        </p:nvCxnSpPr>
        <p:spPr bwMode="gray">
          <a:xfrm>
            <a:off x="1828065" y="3470934"/>
            <a:ext cx="0" cy="178953"/>
          </a:xfrm>
          <a:prstGeom prst="straightConnector1">
            <a:avLst/>
          </a:prstGeom>
          <a:ln>
            <a:solidFill>
              <a:schemeClr val="bg2">
                <a:lumMod val="60000"/>
                <a:lumOff val="40000"/>
              </a:schemeClr>
            </a:solidFill>
            <a:prstDash val="sysDot"/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Rectangle: Rounded Corners 46">
            <a:extLst>
              <a:ext uri="{FF2B5EF4-FFF2-40B4-BE49-F238E27FC236}">
                <a16:creationId xmlns:a16="http://schemas.microsoft.com/office/drawing/2014/main" id="{B8CC38DD-0D09-4CCF-AFDD-12433BAC8D64}"/>
              </a:ext>
            </a:extLst>
          </p:cNvPr>
          <p:cNvSpPr/>
          <p:nvPr/>
        </p:nvSpPr>
        <p:spPr>
          <a:xfrm>
            <a:off x="350102" y="3628327"/>
            <a:ext cx="895458" cy="540739"/>
          </a:xfrm>
          <a:prstGeom prst="roundRect">
            <a:avLst>
              <a:gd name="adj" fmla="val 9968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14309"/>
            <a:r>
              <a:rPr lang="es-AR" sz="1200" b="1" dirty="0">
                <a:solidFill>
                  <a:prstClr val="white"/>
                </a:solidFill>
              </a:rPr>
              <a:t>Monpay</a:t>
            </a:r>
            <a:endParaRPr lang="en-US" sz="1200" b="1" dirty="0">
              <a:solidFill>
                <a:prstClr val="white"/>
              </a:solidFill>
            </a:endParaRPr>
          </a:p>
        </p:txBody>
      </p:sp>
      <p:sp>
        <p:nvSpPr>
          <p:cNvPr id="33" name="Rectangle: Rounded Corners 46">
            <a:extLst>
              <a:ext uri="{FF2B5EF4-FFF2-40B4-BE49-F238E27FC236}">
                <a16:creationId xmlns:a16="http://schemas.microsoft.com/office/drawing/2014/main" id="{61F18648-0A38-4A09-B627-E22A649374C6}"/>
              </a:ext>
            </a:extLst>
          </p:cNvPr>
          <p:cNvSpPr/>
          <p:nvPr/>
        </p:nvSpPr>
        <p:spPr>
          <a:xfrm>
            <a:off x="1380336" y="3649887"/>
            <a:ext cx="895458" cy="540739"/>
          </a:xfrm>
          <a:prstGeom prst="roundRect">
            <a:avLst>
              <a:gd name="adj" fmla="val 9968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14309"/>
            <a:r>
              <a:rPr lang="es-AR" sz="1200" b="1" dirty="0">
                <a:solidFill>
                  <a:prstClr val="white"/>
                </a:solidFill>
              </a:rPr>
              <a:t>NERA</a:t>
            </a:r>
            <a:endParaRPr lang="en-US" sz="1200" b="1" dirty="0">
              <a:solidFill>
                <a:prstClr val="white"/>
              </a:solidFill>
            </a:endParaRPr>
          </a:p>
        </p:txBody>
      </p:sp>
      <p:sp>
        <p:nvSpPr>
          <p:cNvPr id="34" name="Rectangle: Rounded Corners 46">
            <a:extLst>
              <a:ext uri="{FF2B5EF4-FFF2-40B4-BE49-F238E27FC236}">
                <a16:creationId xmlns:a16="http://schemas.microsoft.com/office/drawing/2014/main" id="{7FDD5235-118F-4ABE-A7E3-4F97BCF47760}"/>
              </a:ext>
            </a:extLst>
          </p:cNvPr>
          <p:cNvSpPr/>
          <p:nvPr/>
        </p:nvSpPr>
        <p:spPr>
          <a:xfrm>
            <a:off x="2415979" y="3628327"/>
            <a:ext cx="1048673" cy="734671"/>
          </a:xfrm>
          <a:prstGeom prst="roundRect">
            <a:avLst>
              <a:gd name="adj" fmla="val 9968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14309"/>
            <a:r>
              <a:rPr lang="es-AR" sz="1200" b="1" dirty="0">
                <a:solidFill>
                  <a:prstClr val="white"/>
                </a:solidFill>
              </a:rPr>
              <a:t>Prisma (Portal Autogestión)</a:t>
            </a:r>
            <a:endParaRPr lang="en-US" sz="1200" b="1" dirty="0">
              <a:solidFill>
                <a:prstClr val="white"/>
              </a:solidFill>
            </a:endParaRPr>
          </a:p>
        </p:txBody>
      </p:sp>
      <p:cxnSp>
        <p:nvCxnSpPr>
          <p:cNvPr id="35" name="Conector recto de flecha 70">
            <a:extLst>
              <a:ext uri="{FF2B5EF4-FFF2-40B4-BE49-F238E27FC236}">
                <a16:creationId xmlns:a16="http://schemas.microsoft.com/office/drawing/2014/main" id="{3C71555D-3F2C-4692-A5B3-00F314DE90DA}"/>
              </a:ext>
            </a:extLst>
          </p:cNvPr>
          <p:cNvCxnSpPr>
            <a:cxnSpLocks/>
          </p:cNvCxnSpPr>
          <p:nvPr/>
        </p:nvCxnSpPr>
        <p:spPr bwMode="gray">
          <a:xfrm>
            <a:off x="2939005" y="3456065"/>
            <a:ext cx="0" cy="178953"/>
          </a:xfrm>
          <a:prstGeom prst="straightConnector1">
            <a:avLst/>
          </a:prstGeom>
          <a:ln>
            <a:solidFill>
              <a:schemeClr val="bg2">
                <a:lumMod val="60000"/>
                <a:lumOff val="40000"/>
              </a:schemeClr>
            </a:solidFill>
            <a:prstDash val="sysDot"/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Rectangle: Rounded Corners 46">
            <a:extLst>
              <a:ext uri="{FF2B5EF4-FFF2-40B4-BE49-F238E27FC236}">
                <a16:creationId xmlns:a16="http://schemas.microsoft.com/office/drawing/2014/main" id="{B67C867C-C2F9-4285-B098-CD44692F77F4}"/>
              </a:ext>
            </a:extLst>
          </p:cNvPr>
          <p:cNvSpPr/>
          <p:nvPr/>
        </p:nvSpPr>
        <p:spPr>
          <a:xfrm>
            <a:off x="10763922" y="3679056"/>
            <a:ext cx="895458" cy="540739"/>
          </a:xfrm>
          <a:prstGeom prst="roundRect">
            <a:avLst>
              <a:gd name="adj" fmla="val 9968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14309"/>
            <a:r>
              <a:rPr lang="es-AR" sz="1200" b="1" dirty="0">
                <a:solidFill>
                  <a:prstClr val="white"/>
                </a:solidFill>
              </a:rPr>
              <a:t>SalesForce</a:t>
            </a:r>
            <a:endParaRPr lang="en-US" sz="1200" b="1" dirty="0">
              <a:solidFill>
                <a:prstClr val="white"/>
              </a:solidFill>
            </a:endParaRPr>
          </a:p>
        </p:txBody>
      </p:sp>
      <p:sp>
        <p:nvSpPr>
          <p:cNvPr id="39" name="Right Bracket 41">
            <a:extLst>
              <a:ext uri="{FF2B5EF4-FFF2-40B4-BE49-F238E27FC236}">
                <a16:creationId xmlns:a16="http://schemas.microsoft.com/office/drawing/2014/main" id="{2422B921-5B46-4BC3-ACA5-5B248ABDE43F}"/>
              </a:ext>
            </a:extLst>
          </p:cNvPr>
          <p:cNvSpPr/>
          <p:nvPr/>
        </p:nvSpPr>
        <p:spPr>
          <a:xfrm rot="16200000">
            <a:off x="8973284" y="1396651"/>
            <a:ext cx="208694" cy="4268039"/>
          </a:xfrm>
          <a:prstGeom prst="rightBracket">
            <a:avLst>
              <a:gd name="adj" fmla="val 83320"/>
            </a:avLst>
          </a:prstGeom>
          <a:ln>
            <a:solidFill>
              <a:schemeClr val="bg2">
                <a:lumMod val="60000"/>
                <a:lumOff val="40000"/>
              </a:schemeClr>
            </a:solidFill>
            <a:prstDash val="sysDot"/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100">
              <a:latin typeface="+mj-lt"/>
            </a:endParaRPr>
          </a:p>
        </p:txBody>
      </p:sp>
      <p:sp>
        <p:nvSpPr>
          <p:cNvPr id="40" name="Rectangle: Rounded Corners 46">
            <a:extLst>
              <a:ext uri="{FF2B5EF4-FFF2-40B4-BE49-F238E27FC236}">
                <a16:creationId xmlns:a16="http://schemas.microsoft.com/office/drawing/2014/main" id="{F3B570EB-8A3D-4DA5-AF16-58C7923AB12B}"/>
              </a:ext>
            </a:extLst>
          </p:cNvPr>
          <p:cNvSpPr/>
          <p:nvPr/>
        </p:nvSpPr>
        <p:spPr>
          <a:xfrm>
            <a:off x="9259170" y="3670420"/>
            <a:ext cx="895458" cy="540739"/>
          </a:xfrm>
          <a:prstGeom prst="roundRect">
            <a:avLst>
              <a:gd name="adj" fmla="val 9968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AR" sz="1200" b="1" dirty="0">
                <a:solidFill>
                  <a:prstClr val="white"/>
                </a:solidFill>
              </a:rPr>
              <a:t>Docusing</a:t>
            </a:r>
          </a:p>
        </p:txBody>
      </p:sp>
      <p:cxnSp>
        <p:nvCxnSpPr>
          <p:cNvPr id="41" name="Conector recto de flecha 70">
            <a:extLst>
              <a:ext uri="{FF2B5EF4-FFF2-40B4-BE49-F238E27FC236}">
                <a16:creationId xmlns:a16="http://schemas.microsoft.com/office/drawing/2014/main" id="{45BA52DD-9D5E-4C4C-99A5-A900C51B7BAD}"/>
              </a:ext>
            </a:extLst>
          </p:cNvPr>
          <p:cNvCxnSpPr>
            <a:cxnSpLocks/>
          </p:cNvCxnSpPr>
          <p:nvPr/>
        </p:nvCxnSpPr>
        <p:spPr bwMode="gray">
          <a:xfrm>
            <a:off x="9706899" y="3470934"/>
            <a:ext cx="0" cy="178953"/>
          </a:xfrm>
          <a:prstGeom prst="straightConnector1">
            <a:avLst/>
          </a:prstGeom>
          <a:ln>
            <a:solidFill>
              <a:schemeClr val="bg2">
                <a:lumMod val="60000"/>
                <a:lumOff val="40000"/>
              </a:schemeClr>
            </a:solidFill>
            <a:prstDash val="sysDot"/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Conector recto de flecha 70">
            <a:extLst>
              <a:ext uri="{FF2B5EF4-FFF2-40B4-BE49-F238E27FC236}">
                <a16:creationId xmlns:a16="http://schemas.microsoft.com/office/drawing/2014/main" id="{4BBD6D48-1FA9-4B3C-BFA3-6F8F4E346F38}"/>
              </a:ext>
            </a:extLst>
          </p:cNvPr>
          <p:cNvCxnSpPr>
            <a:cxnSpLocks/>
          </p:cNvCxnSpPr>
          <p:nvPr/>
        </p:nvCxnSpPr>
        <p:spPr bwMode="gray">
          <a:xfrm>
            <a:off x="8084061" y="3449374"/>
            <a:ext cx="0" cy="178953"/>
          </a:xfrm>
          <a:prstGeom prst="straightConnector1">
            <a:avLst/>
          </a:prstGeom>
          <a:ln>
            <a:solidFill>
              <a:schemeClr val="bg2">
                <a:lumMod val="60000"/>
                <a:lumOff val="40000"/>
              </a:schemeClr>
            </a:solidFill>
            <a:prstDash val="sysDot"/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3" name="Rectangle: Rounded Corners 46">
            <a:extLst>
              <a:ext uri="{FF2B5EF4-FFF2-40B4-BE49-F238E27FC236}">
                <a16:creationId xmlns:a16="http://schemas.microsoft.com/office/drawing/2014/main" id="{BDE2A138-9506-4FEC-AD5B-E0A026E7413B}"/>
              </a:ext>
            </a:extLst>
          </p:cNvPr>
          <p:cNvSpPr/>
          <p:nvPr/>
        </p:nvSpPr>
        <p:spPr>
          <a:xfrm>
            <a:off x="7636332" y="3679056"/>
            <a:ext cx="895458" cy="540739"/>
          </a:xfrm>
          <a:prstGeom prst="roundRect">
            <a:avLst>
              <a:gd name="adj" fmla="val 9968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AR" sz="1200" b="1" dirty="0">
                <a:solidFill>
                  <a:prstClr val="white"/>
                </a:solidFill>
              </a:rPr>
              <a:t>GEFIN</a:t>
            </a:r>
          </a:p>
        </p:txBody>
      </p:sp>
      <p:sp>
        <p:nvSpPr>
          <p:cNvPr id="44" name="Rectangle: Rounded Corners 46">
            <a:extLst>
              <a:ext uri="{FF2B5EF4-FFF2-40B4-BE49-F238E27FC236}">
                <a16:creationId xmlns:a16="http://schemas.microsoft.com/office/drawing/2014/main" id="{7DB182CE-FBD4-47D5-BDD5-DAEA650E5962}"/>
              </a:ext>
            </a:extLst>
          </p:cNvPr>
          <p:cNvSpPr/>
          <p:nvPr/>
        </p:nvSpPr>
        <p:spPr>
          <a:xfrm>
            <a:off x="3639055" y="3661462"/>
            <a:ext cx="895458" cy="540739"/>
          </a:xfrm>
          <a:prstGeom prst="roundRect">
            <a:avLst>
              <a:gd name="adj" fmla="val 9968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AR" sz="1200" b="1" dirty="0">
                <a:solidFill>
                  <a:prstClr val="white"/>
                </a:solidFill>
              </a:rPr>
              <a:t>Deloitte Connect</a:t>
            </a:r>
          </a:p>
        </p:txBody>
      </p:sp>
      <p:cxnSp>
        <p:nvCxnSpPr>
          <p:cNvPr id="45" name="Conector recto de flecha 70">
            <a:extLst>
              <a:ext uri="{FF2B5EF4-FFF2-40B4-BE49-F238E27FC236}">
                <a16:creationId xmlns:a16="http://schemas.microsoft.com/office/drawing/2014/main" id="{2246C4E7-A371-46B4-881D-FF1BEE33C1A5}"/>
              </a:ext>
            </a:extLst>
          </p:cNvPr>
          <p:cNvCxnSpPr>
            <a:cxnSpLocks/>
          </p:cNvCxnSpPr>
          <p:nvPr/>
        </p:nvCxnSpPr>
        <p:spPr bwMode="gray">
          <a:xfrm>
            <a:off x="4094585" y="3456065"/>
            <a:ext cx="0" cy="178953"/>
          </a:xfrm>
          <a:prstGeom prst="straightConnector1">
            <a:avLst/>
          </a:prstGeom>
          <a:ln>
            <a:solidFill>
              <a:schemeClr val="bg2">
                <a:lumMod val="60000"/>
                <a:lumOff val="40000"/>
              </a:schemeClr>
            </a:solidFill>
            <a:prstDash val="sysDot"/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Conector recto de flecha 5">
            <a:extLst>
              <a:ext uri="{FF2B5EF4-FFF2-40B4-BE49-F238E27FC236}">
                <a16:creationId xmlns:a16="http://schemas.microsoft.com/office/drawing/2014/main" id="{D08AE02B-CF64-4B4B-B10D-A331AE895DC2}"/>
              </a:ext>
            </a:extLst>
          </p:cNvPr>
          <p:cNvCxnSpPr>
            <a:cxnSpLocks/>
          </p:cNvCxnSpPr>
          <p:nvPr/>
        </p:nvCxnSpPr>
        <p:spPr bwMode="gray">
          <a:xfrm>
            <a:off x="2939005" y="3197318"/>
            <a:ext cx="0" cy="212659"/>
          </a:xfrm>
          <a:prstGeom prst="straightConnector1">
            <a:avLst/>
          </a:prstGeom>
          <a:ln>
            <a:solidFill>
              <a:schemeClr val="bg2">
                <a:lumMod val="60000"/>
                <a:lumOff val="40000"/>
              </a:schemeClr>
            </a:solidFill>
            <a:prstDash val="sysDot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Conector recto de flecha 5">
            <a:extLst>
              <a:ext uri="{FF2B5EF4-FFF2-40B4-BE49-F238E27FC236}">
                <a16:creationId xmlns:a16="http://schemas.microsoft.com/office/drawing/2014/main" id="{0F41C716-39A7-45D8-82EB-D980CD1EF6B2}"/>
              </a:ext>
            </a:extLst>
          </p:cNvPr>
          <p:cNvCxnSpPr>
            <a:cxnSpLocks/>
          </p:cNvCxnSpPr>
          <p:nvPr/>
        </p:nvCxnSpPr>
        <p:spPr bwMode="gray">
          <a:xfrm>
            <a:off x="9221224" y="3197319"/>
            <a:ext cx="0" cy="212659"/>
          </a:xfrm>
          <a:prstGeom prst="straightConnector1">
            <a:avLst/>
          </a:prstGeom>
          <a:ln>
            <a:solidFill>
              <a:schemeClr val="bg2">
                <a:lumMod val="60000"/>
                <a:lumOff val="40000"/>
              </a:schemeClr>
            </a:solidFill>
            <a:prstDash val="sysDot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0" name="Rounded Rectangle 5">
            <a:extLst>
              <a:ext uri="{FF2B5EF4-FFF2-40B4-BE49-F238E27FC236}">
                <a16:creationId xmlns:a16="http://schemas.microsoft.com/office/drawing/2014/main" id="{00621079-16C4-4C10-BCDF-43D16F967C27}"/>
              </a:ext>
            </a:extLst>
          </p:cNvPr>
          <p:cNvSpPr/>
          <p:nvPr/>
        </p:nvSpPr>
        <p:spPr>
          <a:xfrm>
            <a:off x="4372515" y="4808372"/>
            <a:ext cx="827896" cy="433347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400" b="1" dirty="0">
                <a:solidFill>
                  <a:schemeClr val="bg1"/>
                </a:solidFill>
                <a:latin typeface="+mj-lt"/>
              </a:rPr>
              <a:t>SAP</a:t>
            </a:r>
            <a:endParaRPr lang="en-US" sz="14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1" name="Right Bracket 41">
            <a:extLst>
              <a:ext uri="{FF2B5EF4-FFF2-40B4-BE49-F238E27FC236}">
                <a16:creationId xmlns:a16="http://schemas.microsoft.com/office/drawing/2014/main" id="{67CB60E5-E7BF-4A18-9B7C-51F2AA1ED318}"/>
              </a:ext>
            </a:extLst>
          </p:cNvPr>
          <p:cNvSpPr/>
          <p:nvPr/>
        </p:nvSpPr>
        <p:spPr>
          <a:xfrm rot="16200000">
            <a:off x="5878288" y="3769291"/>
            <a:ext cx="236927" cy="1785784"/>
          </a:xfrm>
          <a:prstGeom prst="rightBracket">
            <a:avLst>
              <a:gd name="adj" fmla="val 83320"/>
            </a:avLst>
          </a:prstGeom>
          <a:ln>
            <a:solidFill>
              <a:schemeClr val="bg2">
                <a:lumMod val="60000"/>
                <a:lumOff val="40000"/>
              </a:schemeClr>
            </a:solidFill>
            <a:prstDash val="sysDot"/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100">
              <a:latin typeface="+mj-lt"/>
            </a:endParaRPr>
          </a:p>
        </p:txBody>
      </p:sp>
      <p:sp>
        <p:nvSpPr>
          <p:cNvPr id="54" name="Rounded Rectangle 6">
            <a:extLst>
              <a:ext uri="{FF2B5EF4-FFF2-40B4-BE49-F238E27FC236}">
                <a16:creationId xmlns:a16="http://schemas.microsoft.com/office/drawing/2014/main" id="{874998F8-A35F-45EB-B933-96B704FDA4B4}"/>
              </a:ext>
            </a:extLst>
          </p:cNvPr>
          <p:cNvSpPr/>
          <p:nvPr/>
        </p:nvSpPr>
        <p:spPr>
          <a:xfrm>
            <a:off x="5005632" y="3681489"/>
            <a:ext cx="2026763" cy="409698"/>
          </a:xfrm>
          <a:prstGeom prst="round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400" b="1" dirty="0">
                <a:solidFill>
                  <a:schemeClr val="bg1"/>
                </a:solidFill>
                <a:latin typeface="+mj-lt"/>
              </a:rPr>
              <a:t>Relacionado</a:t>
            </a:r>
            <a:endParaRPr lang="en-US" sz="1400" b="1" dirty="0">
              <a:solidFill>
                <a:schemeClr val="bg1"/>
              </a:solidFill>
              <a:latin typeface="+mj-lt"/>
            </a:endParaRPr>
          </a:p>
        </p:txBody>
      </p:sp>
      <p:cxnSp>
        <p:nvCxnSpPr>
          <p:cNvPr id="55" name="Conector recto de flecha 5">
            <a:extLst>
              <a:ext uri="{FF2B5EF4-FFF2-40B4-BE49-F238E27FC236}">
                <a16:creationId xmlns:a16="http://schemas.microsoft.com/office/drawing/2014/main" id="{FE765ADE-BF54-4A31-A6A3-E79F84B43EBC}"/>
              </a:ext>
            </a:extLst>
          </p:cNvPr>
          <p:cNvCxnSpPr>
            <a:cxnSpLocks/>
          </p:cNvCxnSpPr>
          <p:nvPr/>
        </p:nvCxnSpPr>
        <p:spPr bwMode="gray">
          <a:xfrm>
            <a:off x="5996751" y="4083871"/>
            <a:ext cx="0" cy="459849"/>
          </a:xfrm>
          <a:prstGeom prst="straightConnector1">
            <a:avLst/>
          </a:prstGeom>
          <a:ln>
            <a:solidFill>
              <a:schemeClr val="bg2">
                <a:lumMod val="60000"/>
                <a:lumOff val="40000"/>
              </a:schemeClr>
            </a:solidFill>
            <a:prstDash val="sysDot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6" name="Rounded Rectangle 5">
            <a:extLst>
              <a:ext uri="{FF2B5EF4-FFF2-40B4-BE49-F238E27FC236}">
                <a16:creationId xmlns:a16="http://schemas.microsoft.com/office/drawing/2014/main" id="{6ED807D5-590A-4F61-96FE-F70D6078666C}"/>
              </a:ext>
            </a:extLst>
          </p:cNvPr>
          <p:cNvSpPr/>
          <p:nvPr/>
        </p:nvSpPr>
        <p:spPr>
          <a:xfrm>
            <a:off x="5589317" y="4808372"/>
            <a:ext cx="827896" cy="433347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400" b="1" dirty="0">
                <a:solidFill>
                  <a:schemeClr val="bg1"/>
                </a:solidFill>
                <a:latin typeface="+mj-lt"/>
              </a:rPr>
              <a:t>MPW</a:t>
            </a:r>
            <a:endParaRPr lang="en-US" sz="14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7" name="Rounded Rectangle 5">
            <a:extLst>
              <a:ext uri="{FF2B5EF4-FFF2-40B4-BE49-F238E27FC236}">
                <a16:creationId xmlns:a16="http://schemas.microsoft.com/office/drawing/2014/main" id="{7233EF30-AC0A-4A25-9BE1-E9472D1CA885}"/>
              </a:ext>
            </a:extLst>
          </p:cNvPr>
          <p:cNvSpPr/>
          <p:nvPr/>
        </p:nvSpPr>
        <p:spPr>
          <a:xfrm>
            <a:off x="6806119" y="4808372"/>
            <a:ext cx="781204" cy="433347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400" b="1" dirty="0">
                <a:solidFill>
                  <a:schemeClr val="bg1"/>
                </a:solidFill>
                <a:latin typeface="+mj-lt"/>
              </a:rPr>
              <a:t>CIC</a:t>
            </a:r>
            <a:endParaRPr lang="en-US" sz="1400" b="1" dirty="0">
              <a:solidFill>
                <a:schemeClr val="bg1"/>
              </a:solidFill>
              <a:latin typeface="+mj-lt"/>
            </a:endParaRPr>
          </a:p>
        </p:txBody>
      </p:sp>
      <p:cxnSp>
        <p:nvCxnSpPr>
          <p:cNvPr id="59" name="Conector recto de flecha 70">
            <a:extLst>
              <a:ext uri="{FF2B5EF4-FFF2-40B4-BE49-F238E27FC236}">
                <a16:creationId xmlns:a16="http://schemas.microsoft.com/office/drawing/2014/main" id="{61AE1E4A-2911-4D59-AED9-256D4EB8A8A1}"/>
              </a:ext>
            </a:extLst>
          </p:cNvPr>
          <p:cNvCxnSpPr>
            <a:cxnSpLocks/>
          </p:cNvCxnSpPr>
          <p:nvPr/>
        </p:nvCxnSpPr>
        <p:spPr bwMode="gray">
          <a:xfrm>
            <a:off x="5996751" y="4572706"/>
            <a:ext cx="0" cy="178953"/>
          </a:xfrm>
          <a:prstGeom prst="straightConnector1">
            <a:avLst/>
          </a:prstGeom>
          <a:ln>
            <a:solidFill>
              <a:schemeClr val="bg2">
                <a:lumMod val="60000"/>
                <a:lumOff val="40000"/>
              </a:schemeClr>
            </a:solidFill>
            <a:prstDash val="sysDot"/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0" name="Imagen 59">
            <a:extLst>
              <a:ext uri="{FF2B5EF4-FFF2-40B4-BE49-F238E27FC236}">
                <a16:creationId xmlns:a16="http://schemas.microsoft.com/office/drawing/2014/main" id="{1AB04AB7-5D65-4736-8166-CF58037CAC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86337" y="6399410"/>
            <a:ext cx="1508233" cy="343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3799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>
            <a:extLst>
              <a:ext uri="{FF2B5EF4-FFF2-40B4-BE49-F238E27FC236}">
                <a16:creationId xmlns:a16="http://schemas.microsoft.com/office/drawing/2014/main" id="{C464A612-DDE4-4DD2-B5C9-C7D49FF5CDBC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s-AR" dirty="0"/>
              <a:t>Soraya San Rojas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B9A6BBBC-BD82-4839-92ED-72070E8939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b="1" dirty="0"/>
              <a:t>Actividades Recurrentes Customer Financing</a:t>
            </a: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F5E93563-579B-4109-AC03-299038258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5757" y="6649674"/>
            <a:ext cx="392326" cy="108000"/>
          </a:xfrm>
        </p:spPr>
        <p:txBody>
          <a:bodyPr/>
          <a:lstStyle/>
          <a:p>
            <a:fld id="{EEAD9179-7A6B-4268-BEB2-F3B8EB06115B}" type="slidenum">
              <a:rPr lang="en-US" smtClean="0"/>
              <a:t>5</a:t>
            </a:fld>
            <a:endParaRPr lang="en-US" dirty="0"/>
          </a:p>
        </p:txBody>
      </p:sp>
      <p:cxnSp>
        <p:nvCxnSpPr>
          <p:cNvPr id="10" name="Conector recto 75">
            <a:extLst>
              <a:ext uri="{FF2B5EF4-FFF2-40B4-BE49-F238E27FC236}">
                <a16:creationId xmlns:a16="http://schemas.microsoft.com/office/drawing/2014/main" id="{2EC6CF75-240D-4FB2-8A34-511CDCF1A815}"/>
              </a:ext>
            </a:extLst>
          </p:cNvPr>
          <p:cNvCxnSpPr>
            <a:cxnSpLocks/>
          </p:cNvCxnSpPr>
          <p:nvPr/>
        </p:nvCxnSpPr>
        <p:spPr>
          <a:xfrm flipH="1">
            <a:off x="931623" y="2563751"/>
            <a:ext cx="10234801" cy="0"/>
          </a:xfrm>
          <a:prstGeom prst="line">
            <a:avLst/>
          </a:prstGeom>
          <a:ln w="38100">
            <a:solidFill>
              <a:schemeClr val="accent3">
                <a:lumMod val="75000"/>
                <a:lumOff val="2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4" name="Elipse 13">
            <a:extLst>
              <a:ext uri="{FF2B5EF4-FFF2-40B4-BE49-F238E27FC236}">
                <a16:creationId xmlns:a16="http://schemas.microsoft.com/office/drawing/2014/main" id="{BA26B4CD-F99C-4260-924C-0C7587E661F6}"/>
              </a:ext>
            </a:extLst>
          </p:cNvPr>
          <p:cNvSpPr/>
          <p:nvPr/>
        </p:nvSpPr>
        <p:spPr bwMode="gray">
          <a:xfrm>
            <a:off x="351920" y="1576400"/>
            <a:ext cx="1167313" cy="765756"/>
          </a:xfrm>
          <a:prstGeom prst="ellipse">
            <a:avLst/>
          </a:prstGeom>
          <a:solidFill>
            <a:schemeClr val="accent3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MX" sz="1200" b="1" dirty="0"/>
              <a:t>Cierre CF - NFE </a:t>
            </a:r>
          </a:p>
        </p:txBody>
      </p:sp>
      <p:cxnSp>
        <p:nvCxnSpPr>
          <p:cNvPr id="15" name="Conector recto 83">
            <a:extLst>
              <a:ext uri="{FF2B5EF4-FFF2-40B4-BE49-F238E27FC236}">
                <a16:creationId xmlns:a16="http://schemas.microsoft.com/office/drawing/2014/main" id="{3C926A36-C635-4E80-ABD7-82D3BFFDABFE}"/>
              </a:ext>
            </a:extLst>
          </p:cNvPr>
          <p:cNvCxnSpPr>
            <a:cxnSpLocks/>
          </p:cNvCxnSpPr>
          <p:nvPr/>
        </p:nvCxnSpPr>
        <p:spPr>
          <a:xfrm>
            <a:off x="931623" y="2342156"/>
            <a:ext cx="0" cy="236208"/>
          </a:xfrm>
          <a:prstGeom prst="line">
            <a:avLst/>
          </a:prstGeom>
          <a:ln w="38100">
            <a:solidFill>
              <a:schemeClr val="accent3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lipse 15">
            <a:extLst>
              <a:ext uri="{FF2B5EF4-FFF2-40B4-BE49-F238E27FC236}">
                <a16:creationId xmlns:a16="http://schemas.microsoft.com/office/drawing/2014/main" id="{DA84BDB3-0548-4E05-AA27-0192FC6629CE}"/>
              </a:ext>
            </a:extLst>
          </p:cNvPr>
          <p:cNvSpPr/>
          <p:nvPr/>
        </p:nvSpPr>
        <p:spPr bwMode="gray">
          <a:xfrm>
            <a:off x="2557085" y="1586681"/>
            <a:ext cx="1310763" cy="765756"/>
          </a:xfrm>
          <a:prstGeom prst="ellipse">
            <a:avLst/>
          </a:prstGeom>
          <a:solidFill>
            <a:schemeClr val="accent3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MX" sz="1200" b="1" dirty="0"/>
              <a:t>Condiciones Mensuales</a:t>
            </a:r>
          </a:p>
        </p:txBody>
      </p:sp>
      <p:cxnSp>
        <p:nvCxnSpPr>
          <p:cNvPr id="17" name="Conector recto 83">
            <a:extLst>
              <a:ext uri="{FF2B5EF4-FFF2-40B4-BE49-F238E27FC236}">
                <a16:creationId xmlns:a16="http://schemas.microsoft.com/office/drawing/2014/main" id="{5B8BC68E-50B2-490F-9078-1720FEF10F41}"/>
              </a:ext>
            </a:extLst>
          </p:cNvPr>
          <p:cNvCxnSpPr>
            <a:cxnSpLocks/>
          </p:cNvCxnSpPr>
          <p:nvPr/>
        </p:nvCxnSpPr>
        <p:spPr>
          <a:xfrm>
            <a:off x="3229039" y="2336834"/>
            <a:ext cx="0" cy="236208"/>
          </a:xfrm>
          <a:prstGeom prst="line">
            <a:avLst/>
          </a:prstGeom>
          <a:ln w="38100">
            <a:solidFill>
              <a:schemeClr val="accent3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lipse 17">
            <a:extLst>
              <a:ext uri="{FF2B5EF4-FFF2-40B4-BE49-F238E27FC236}">
                <a16:creationId xmlns:a16="http://schemas.microsoft.com/office/drawing/2014/main" id="{4C720CEA-3E50-4579-AE68-19857942A3F4}"/>
              </a:ext>
            </a:extLst>
          </p:cNvPr>
          <p:cNvSpPr/>
          <p:nvPr/>
        </p:nvSpPr>
        <p:spPr bwMode="gray">
          <a:xfrm>
            <a:off x="5122052" y="1567630"/>
            <a:ext cx="1462790" cy="765756"/>
          </a:xfrm>
          <a:prstGeom prst="ellipse">
            <a:avLst/>
          </a:prstGeom>
          <a:solidFill>
            <a:schemeClr val="accent3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MX" sz="1200" b="1" dirty="0"/>
              <a:t>Seguimientos en el Mes</a:t>
            </a:r>
          </a:p>
        </p:txBody>
      </p:sp>
      <p:cxnSp>
        <p:nvCxnSpPr>
          <p:cNvPr id="19" name="Conector recto 83">
            <a:extLst>
              <a:ext uri="{FF2B5EF4-FFF2-40B4-BE49-F238E27FC236}">
                <a16:creationId xmlns:a16="http://schemas.microsoft.com/office/drawing/2014/main" id="{736864FF-9D6B-427F-B5C8-8B6A8398B45A}"/>
              </a:ext>
            </a:extLst>
          </p:cNvPr>
          <p:cNvCxnSpPr>
            <a:cxnSpLocks/>
          </p:cNvCxnSpPr>
          <p:nvPr/>
        </p:nvCxnSpPr>
        <p:spPr>
          <a:xfrm>
            <a:off x="5853447" y="2336834"/>
            <a:ext cx="0" cy="236208"/>
          </a:xfrm>
          <a:prstGeom prst="line">
            <a:avLst/>
          </a:prstGeom>
          <a:ln w="38100">
            <a:solidFill>
              <a:schemeClr val="accent3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cto 83">
            <a:extLst>
              <a:ext uri="{FF2B5EF4-FFF2-40B4-BE49-F238E27FC236}">
                <a16:creationId xmlns:a16="http://schemas.microsoft.com/office/drawing/2014/main" id="{0B854F2D-8F67-463E-A0C1-5A41CD8EF4A5}"/>
              </a:ext>
            </a:extLst>
          </p:cNvPr>
          <p:cNvCxnSpPr>
            <a:cxnSpLocks/>
          </p:cNvCxnSpPr>
          <p:nvPr/>
        </p:nvCxnSpPr>
        <p:spPr>
          <a:xfrm>
            <a:off x="8674023" y="2327543"/>
            <a:ext cx="0" cy="236208"/>
          </a:xfrm>
          <a:prstGeom prst="line">
            <a:avLst/>
          </a:prstGeom>
          <a:ln w="38100">
            <a:solidFill>
              <a:schemeClr val="accent3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Elipse 21">
            <a:extLst>
              <a:ext uri="{FF2B5EF4-FFF2-40B4-BE49-F238E27FC236}">
                <a16:creationId xmlns:a16="http://schemas.microsoft.com/office/drawing/2014/main" id="{0A5FA3DB-6A5D-4FC4-A342-15DBF54F35DA}"/>
              </a:ext>
            </a:extLst>
          </p:cNvPr>
          <p:cNvSpPr/>
          <p:nvPr/>
        </p:nvSpPr>
        <p:spPr bwMode="gray">
          <a:xfrm>
            <a:off x="10582767" y="1586681"/>
            <a:ext cx="1167313" cy="765756"/>
          </a:xfrm>
          <a:prstGeom prst="ellipse">
            <a:avLst/>
          </a:prstGeom>
          <a:solidFill>
            <a:schemeClr val="accent3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MX" sz="1200" b="1" dirty="0"/>
              <a:t>Forecast</a:t>
            </a:r>
          </a:p>
        </p:txBody>
      </p:sp>
      <p:cxnSp>
        <p:nvCxnSpPr>
          <p:cNvPr id="27" name="Conector recto 83">
            <a:extLst>
              <a:ext uri="{FF2B5EF4-FFF2-40B4-BE49-F238E27FC236}">
                <a16:creationId xmlns:a16="http://schemas.microsoft.com/office/drawing/2014/main" id="{9CE05AA0-3C10-4BB5-B739-EE5066EBEB98}"/>
              </a:ext>
            </a:extLst>
          </p:cNvPr>
          <p:cNvCxnSpPr>
            <a:cxnSpLocks/>
          </p:cNvCxnSpPr>
          <p:nvPr/>
        </p:nvCxnSpPr>
        <p:spPr>
          <a:xfrm>
            <a:off x="11180220" y="2342156"/>
            <a:ext cx="0" cy="236208"/>
          </a:xfrm>
          <a:prstGeom prst="line">
            <a:avLst/>
          </a:prstGeom>
          <a:ln w="38100">
            <a:solidFill>
              <a:schemeClr val="accent3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Elipse 28">
            <a:extLst>
              <a:ext uri="{FF2B5EF4-FFF2-40B4-BE49-F238E27FC236}">
                <a16:creationId xmlns:a16="http://schemas.microsoft.com/office/drawing/2014/main" id="{E850F8F2-6296-4653-9DCC-900DB60A42DC}"/>
              </a:ext>
            </a:extLst>
          </p:cNvPr>
          <p:cNvSpPr/>
          <p:nvPr/>
        </p:nvSpPr>
        <p:spPr bwMode="gray">
          <a:xfrm>
            <a:off x="7939843" y="1576400"/>
            <a:ext cx="1468360" cy="765756"/>
          </a:xfrm>
          <a:prstGeom prst="ellipse">
            <a:avLst/>
          </a:prstGeom>
          <a:solidFill>
            <a:schemeClr val="accent3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MX" sz="1200" b="1" dirty="0"/>
              <a:t>Solicitud de NC</a:t>
            </a:r>
          </a:p>
        </p:txBody>
      </p:sp>
      <p:sp>
        <p:nvSpPr>
          <p:cNvPr id="30" name="TextBox 41">
            <a:extLst>
              <a:ext uri="{FF2B5EF4-FFF2-40B4-BE49-F238E27FC236}">
                <a16:creationId xmlns:a16="http://schemas.microsoft.com/office/drawing/2014/main" id="{E4AF1003-A117-4620-ADD3-1086E62E7604}"/>
              </a:ext>
            </a:extLst>
          </p:cNvPr>
          <p:cNvSpPr txBox="1"/>
          <p:nvPr/>
        </p:nvSpPr>
        <p:spPr bwMode="gray">
          <a:xfrm>
            <a:off x="150225" y="2740984"/>
            <a:ext cx="1838821" cy="374607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Descarga de bases en Monpay, NERA y SAP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Generar las bases mensuales, realizar los cruces y cálculos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Carga de Funnel de los costos incurridos en el mes en MPW para su posteo en SAP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Control del ingreso de prestamos en SAP y bases relacionadas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Solicitar cierre de mes a la SGR</a:t>
            </a:r>
          </a:p>
        </p:txBody>
      </p:sp>
      <p:sp>
        <p:nvSpPr>
          <p:cNvPr id="32" name="TextBox 41">
            <a:extLst>
              <a:ext uri="{FF2B5EF4-FFF2-40B4-BE49-F238E27FC236}">
                <a16:creationId xmlns:a16="http://schemas.microsoft.com/office/drawing/2014/main" id="{23C6A999-D8E8-40B2-A5F0-E31FADED9F74}"/>
              </a:ext>
            </a:extLst>
          </p:cNvPr>
          <p:cNvSpPr txBox="1"/>
          <p:nvPr/>
        </p:nvSpPr>
        <p:spPr bwMode="gray">
          <a:xfrm>
            <a:off x="2189982" y="2740984"/>
            <a:ext cx="2390640" cy="39861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Cierre de tasas con Tesorería y acuerdo de condiciones con Marketing 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Determinar los intereses/recargos para las condiciones financieras mensuales de Monsanto y Bayer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Se realizan los comunicados a los </a:t>
            </a:r>
            <a:r>
              <a:rPr lang="es-AR" sz="1200" b="1" i="1" dirty="0" err="1">
                <a:solidFill>
                  <a:schemeClr val="dk1"/>
                </a:solidFill>
              </a:rPr>
              <a:t>CdeS</a:t>
            </a:r>
            <a:r>
              <a:rPr lang="es-AR" sz="1200" b="1" i="1" dirty="0">
                <a:solidFill>
                  <a:schemeClr val="dk1"/>
                </a:solidFill>
              </a:rPr>
              <a:t>, Analis. de créditos, Analis. de cobranzas y SP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Cargar las condiciones en los sistemas – Monpay para Monsanto (ABM) y notificar a Andres Salvatierra para que realice la carga en CIC para Bayer</a:t>
            </a:r>
          </a:p>
        </p:txBody>
      </p:sp>
      <p:sp>
        <p:nvSpPr>
          <p:cNvPr id="36" name="TextBox 41">
            <a:extLst>
              <a:ext uri="{FF2B5EF4-FFF2-40B4-BE49-F238E27FC236}">
                <a16:creationId xmlns:a16="http://schemas.microsoft.com/office/drawing/2014/main" id="{AF576313-0D4A-4890-A6E0-5ED067C80F4C}"/>
              </a:ext>
            </a:extLst>
          </p:cNvPr>
          <p:cNvSpPr txBox="1"/>
          <p:nvPr/>
        </p:nvSpPr>
        <p:spPr bwMode="gray">
          <a:xfrm>
            <a:off x="4783642" y="2750373"/>
            <a:ext cx="2767125" cy="39861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Chequear </a:t>
            </a:r>
            <a:r>
              <a:rPr lang="es-AR" sz="1200" b="1" i="1" dirty="0" err="1">
                <a:solidFill>
                  <a:schemeClr val="dk1"/>
                </a:solidFill>
              </a:rPr>
              <a:t>collections</a:t>
            </a:r>
            <a:r>
              <a:rPr lang="es-AR" sz="1200" b="1" i="1" dirty="0">
                <a:solidFill>
                  <a:schemeClr val="dk1"/>
                </a:solidFill>
              </a:rPr>
              <a:t> y NFE, realizando una baja semanal de la base de las operaciones de tarjetas en Monpay y verificando la cuenta de NFE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 Comparar con los objetivos del mes y situación de facturación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Responder las consultas de los </a:t>
            </a:r>
            <a:r>
              <a:rPr lang="es-AR" sz="1200" b="1" i="1" dirty="0" err="1">
                <a:solidFill>
                  <a:schemeClr val="dk1"/>
                </a:solidFill>
              </a:rPr>
              <a:t>CdeS</a:t>
            </a:r>
            <a:r>
              <a:rPr lang="es-AR" sz="1200" b="1" i="1" dirty="0">
                <a:solidFill>
                  <a:schemeClr val="dk1"/>
                </a:solidFill>
              </a:rPr>
              <a:t>, RV y clientes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Actualización del ABM en Monpay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Control de base </a:t>
            </a:r>
            <a:r>
              <a:rPr lang="es-AR" sz="1200" b="1" i="1" dirty="0" err="1">
                <a:solidFill>
                  <a:schemeClr val="dk1"/>
                </a:solidFill>
              </a:rPr>
              <a:t>Cheq</a:t>
            </a:r>
            <a:r>
              <a:rPr lang="es-AR" sz="1200" b="1" i="1" dirty="0">
                <a:solidFill>
                  <a:schemeClr val="dk1"/>
                </a:solidFill>
              </a:rPr>
              <a:t> $ y emisión de recibos (echeq)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Reportes generales solicitados por otros sectores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Control de liquidaciones y respaldos para auditorias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s-AR" sz="1200" b="1" i="1" dirty="0">
              <a:solidFill>
                <a:schemeClr val="dk1"/>
              </a:solidFill>
            </a:endParaRPr>
          </a:p>
        </p:txBody>
      </p:sp>
      <p:sp>
        <p:nvSpPr>
          <p:cNvPr id="39" name="TextBox 41">
            <a:extLst>
              <a:ext uri="{FF2B5EF4-FFF2-40B4-BE49-F238E27FC236}">
                <a16:creationId xmlns:a16="http://schemas.microsoft.com/office/drawing/2014/main" id="{2CEE319A-40DE-41EA-9191-51120AB3A4BF}"/>
              </a:ext>
            </a:extLst>
          </p:cNvPr>
          <p:cNvSpPr txBox="1"/>
          <p:nvPr/>
        </p:nvSpPr>
        <p:spPr bwMode="gray">
          <a:xfrm>
            <a:off x="7755392" y="2740984"/>
            <a:ext cx="2245039" cy="374607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Recepción de reclamos de los clientes, </a:t>
            </a:r>
            <a:r>
              <a:rPr lang="es-AR" sz="1200" b="1" i="1" dirty="0" err="1">
                <a:solidFill>
                  <a:schemeClr val="dk1"/>
                </a:solidFill>
              </a:rPr>
              <a:t>CdeS</a:t>
            </a:r>
            <a:r>
              <a:rPr lang="es-AR" sz="1200" b="1" i="1" dirty="0">
                <a:solidFill>
                  <a:schemeClr val="dk1"/>
                </a:solidFill>
              </a:rPr>
              <a:t> y cobradores por el cobro de intereses cobrados erróneamente al cliente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Ingreso en la base, análisis y calculo de NC. Se adjunta documentación requerida (cupón, FC, recibo, etc.)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Envió de detalle, con la solicitud de emisión de NC y posterior respuesta al solicitante 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s-AR" sz="1200" b="1" i="1" dirty="0">
              <a:solidFill>
                <a:schemeClr val="dk1"/>
              </a:solidFill>
            </a:endParaRPr>
          </a:p>
        </p:txBody>
      </p:sp>
      <p:sp>
        <p:nvSpPr>
          <p:cNvPr id="41" name="TextBox 41">
            <a:extLst>
              <a:ext uri="{FF2B5EF4-FFF2-40B4-BE49-F238E27FC236}">
                <a16:creationId xmlns:a16="http://schemas.microsoft.com/office/drawing/2014/main" id="{F7A66B8E-7D13-4218-87E1-018EDA949C70}"/>
              </a:ext>
            </a:extLst>
          </p:cNvPr>
          <p:cNvSpPr txBox="1"/>
          <p:nvPr/>
        </p:nvSpPr>
        <p:spPr bwMode="gray">
          <a:xfrm>
            <a:off x="10205056" y="2740984"/>
            <a:ext cx="1907229" cy="197251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Estimar el Forecast del NFE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Se realiza el </a:t>
            </a:r>
            <a:r>
              <a:rPr lang="es-AR" sz="1200" b="1" i="1" dirty="0" err="1">
                <a:solidFill>
                  <a:schemeClr val="dk1"/>
                </a:solidFill>
              </a:rPr>
              <a:t>Trackeo</a:t>
            </a:r>
            <a:r>
              <a:rPr lang="es-AR" sz="1200" b="1" i="1" dirty="0">
                <a:solidFill>
                  <a:schemeClr val="dk1"/>
                </a:solidFill>
              </a:rPr>
              <a:t> mensual y se solicita a FP&amp;A las facturaciones realizadas, para verificar el avance mensual</a:t>
            </a:r>
          </a:p>
          <a:p>
            <a:pPr>
              <a:spcBef>
                <a:spcPts val="600"/>
              </a:spcBef>
            </a:pPr>
            <a:endParaRPr lang="es-AR" sz="1200" b="1" i="1" dirty="0">
              <a:solidFill>
                <a:schemeClr val="dk1"/>
              </a:solidFill>
            </a:endParaRPr>
          </a:p>
        </p:txBody>
      </p:sp>
      <p:pic>
        <p:nvPicPr>
          <p:cNvPr id="42" name="Imagen 41">
            <a:extLst>
              <a:ext uri="{FF2B5EF4-FFF2-40B4-BE49-F238E27FC236}">
                <a16:creationId xmlns:a16="http://schemas.microsoft.com/office/drawing/2014/main" id="{B884669C-55E7-4AB2-A4C0-3E42880DDD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20914" y="6415028"/>
            <a:ext cx="1508233" cy="343897"/>
          </a:xfrm>
          <a:prstGeom prst="rect">
            <a:avLst/>
          </a:prstGeom>
        </p:spPr>
      </p:pic>
      <p:sp>
        <p:nvSpPr>
          <p:cNvPr id="43" name="Elipse 68">
            <a:extLst>
              <a:ext uri="{FF2B5EF4-FFF2-40B4-BE49-F238E27FC236}">
                <a16:creationId xmlns:a16="http://schemas.microsoft.com/office/drawing/2014/main" id="{C76ED265-CEC5-41F5-8F08-5394B93AEFAD}"/>
              </a:ext>
            </a:extLst>
          </p:cNvPr>
          <p:cNvSpPr/>
          <p:nvPr/>
        </p:nvSpPr>
        <p:spPr>
          <a:xfrm>
            <a:off x="10734424" y="293882"/>
            <a:ext cx="864000" cy="864000"/>
          </a:xfrm>
          <a:prstGeom prst="ellipse">
            <a:avLst/>
          </a:prstGeom>
          <a:solidFill>
            <a:schemeClr val="bg1"/>
          </a:solidFill>
          <a:ln w="28575">
            <a:solidFill>
              <a:srgbClr val="2B663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pic>
        <p:nvPicPr>
          <p:cNvPr id="44" name="Gráfico 69">
            <a:extLst>
              <a:ext uri="{FF2B5EF4-FFF2-40B4-BE49-F238E27FC236}">
                <a16:creationId xmlns:a16="http://schemas.microsoft.com/office/drawing/2014/main" id="{1D01778B-A80F-4B80-9F62-2880012FA55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92692" y="452150"/>
            <a:ext cx="547463" cy="547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8277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750"/>
                            </p:stCondLst>
                            <p:childTnLst>
                              <p:par>
                                <p:cTn id="1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250"/>
                            </p:stCondLst>
                            <p:childTnLst>
                              <p:par>
                                <p:cTn id="21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5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750"/>
                            </p:stCondLst>
                            <p:childTnLst>
                              <p:par>
                                <p:cTn id="2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1" dur="2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5" dur="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250"/>
                            </p:stCondLst>
                            <p:childTnLst>
                              <p:par>
                                <p:cTn id="3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500"/>
                            </p:stCondLst>
                            <p:childTnLst>
                              <p:par>
                                <p:cTn id="41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3" dur="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275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2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3000"/>
                            </p:stCondLst>
                            <p:childTnLst>
                              <p:par>
                                <p:cTn id="4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3000"/>
                            </p:stCondLst>
                            <p:childTnLst>
                              <p:par>
                                <p:cTn id="5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3000"/>
                            </p:stCondLst>
                            <p:childTnLst>
                              <p:par>
                                <p:cTn id="5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3000"/>
                            </p:stCondLst>
                            <p:childTnLst>
                              <p:par>
                                <p:cTn id="5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3000"/>
                            </p:stCondLst>
                            <p:childTnLst>
                              <p:par>
                                <p:cTn id="6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6" grpId="0" animBg="1"/>
      <p:bldP spid="18" grpId="0" animBg="1"/>
      <p:bldP spid="22" grpId="0" animBg="1"/>
      <p:bldP spid="29" grpId="0" animBg="1"/>
      <p:bldP spid="30" grpId="0"/>
      <p:bldP spid="32" grpId="0"/>
      <p:bldP spid="36" grpId="0"/>
      <p:bldP spid="39" grpId="0"/>
      <p:bldP spid="41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Elipse 68">
            <a:extLst>
              <a:ext uri="{FF2B5EF4-FFF2-40B4-BE49-F238E27FC236}">
                <a16:creationId xmlns:a16="http://schemas.microsoft.com/office/drawing/2014/main" id="{6903906E-408D-4BF5-B263-FA54760031A8}"/>
              </a:ext>
            </a:extLst>
          </p:cNvPr>
          <p:cNvSpPr/>
          <p:nvPr/>
        </p:nvSpPr>
        <p:spPr>
          <a:xfrm>
            <a:off x="10637784" y="4419947"/>
            <a:ext cx="864000" cy="864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2" name="Subtítulo 1">
            <a:extLst>
              <a:ext uri="{FF2B5EF4-FFF2-40B4-BE49-F238E27FC236}">
                <a16:creationId xmlns:a16="http://schemas.microsoft.com/office/drawing/2014/main" id="{A05061A1-1EBA-4AED-A730-E3639B0069CF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984741" y="1045058"/>
            <a:ext cx="10798461" cy="252000"/>
          </a:xfrm>
        </p:spPr>
        <p:txBody>
          <a:bodyPr/>
          <a:lstStyle/>
          <a:p>
            <a:r>
              <a:rPr lang="es-AR" dirty="0"/>
              <a:t>Maria Florencia Massei - Maria Laura Duranti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DBDE5C04-0672-4522-95FD-A08BA622C8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1372" y="495993"/>
            <a:ext cx="10798460" cy="484037"/>
          </a:xfrm>
        </p:spPr>
        <p:txBody>
          <a:bodyPr/>
          <a:lstStyle/>
          <a:p>
            <a:r>
              <a:rPr lang="es-AR" b="1" dirty="0"/>
              <a:t>Actividades Recurrentes SGR</a:t>
            </a: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8E8B74AD-FF8A-4DF5-94E4-A1118B80D6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1266" y="6586976"/>
            <a:ext cx="392326" cy="108000"/>
          </a:xfrm>
        </p:spPr>
        <p:txBody>
          <a:bodyPr/>
          <a:lstStyle/>
          <a:p>
            <a:fld id="{EEAD9179-7A6B-4268-BEB2-F3B8EB06115B}" type="slidenum">
              <a:rPr lang="en-US" smtClean="0"/>
              <a:t>6</a:t>
            </a:fld>
            <a:endParaRPr lang="en-US" dirty="0"/>
          </a:p>
        </p:txBody>
      </p:sp>
      <p:cxnSp>
        <p:nvCxnSpPr>
          <p:cNvPr id="10" name="Conector recto 75">
            <a:extLst>
              <a:ext uri="{FF2B5EF4-FFF2-40B4-BE49-F238E27FC236}">
                <a16:creationId xmlns:a16="http://schemas.microsoft.com/office/drawing/2014/main" id="{EB2587C6-DE34-4FE9-822B-6AAF51A039C4}"/>
              </a:ext>
            </a:extLst>
          </p:cNvPr>
          <p:cNvCxnSpPr>
            <a:cxnSpLocks/>
          </p:cNvCxnSpPr>
          <p:nvPr/>
        </p:nvCxnSpPr>
        <p:spPr>
          <a:xfrm flipH="1">
            <a:off x="744923" y="2487611"/>
            <a:ext cx="2035984" cy="0"/>
          </a:xfrm>
          <a:prstGeom prst="line">
            <a:avLst/>
          </a:prstGeom>
          <a:ln w="381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pSp>
        <p:nvGrpSpPr>
          <p:cNvPr id="12" name="Grupo 11">
            <a:extLst>
              <a:ext uri="{FF2B5EF4-FFF2-40B4-BE49-F238E27FC236}">
                <a16:creationId xmlns:a16="http://schemas.microsoft.com/office/drawing/2014/main" id="{EA3FD4E0-8CFB-4FE4-AC23-51216DD13E68}"/>
              </a:ext>
            </a:extLst>
          </p:cNvPr>
          <p:cNvGrpSpPr/>
          <p:nvPr/>
        </p:nvGrpSpPr>
        <p:grpSpPr>
          <a:xfrm>
            <a:off x="2707630" y="2344809"/>
            <a:ext cx="373589" cy="264161"/>
            <a:chOff x="7864878" y="2882864"/>
            <a:chExt cx="373589" cy="264161"/>
          </a:xfrm>
        </p:grpSpPr>
        <p:sp>
          <p:nvSpPr>
            <p:cNvPr id="13" name="Rectángulo 12">
              <a:extLst>
                <a:ext uri="{FF2B5EF4-FFF2-40B4-BE49-F238E27FC236}">
                  <a16:creationId xmlns:a16="http://schemas.microsoft.com/office/drawing/2014/main" id="{7EB9A9F8-AF61-408E-ACB2-B22BADA12F52}"/>
                </a:ext>
              </a:extLst>
            </p:cNvPr>
            <p:cNvSpPr/>
            <p:nvPr/>
          </p:nvSpPr>
          <p:spPr bwMode="gray">
            <a:xfrm>
              <a:off x="7961376" y="2944368"/>
              <a:ext cx="180594" cy="20265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/>
            </a:p>
          </p:txBody>
        </p:sp>
        <p:cxnSp>
          <p:nvCxnSpPr>
            <p:cNvPr id="14" name="Conector recto 83">
              <a:extLst>
                <a:ext uri="{FF2B5EF4-FFF2-40B4-BE49-F238E27FC236}">
                  <a16:creationId xmlns:a16="http://schemas.microsoft.com/office/drawing/2014/main" id="{171E03C5-AC40-4BC4-A96A-BDF9B1A8DC4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864878" y="2882864"/>
              <a:ext cx="192995" cy="264161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ector recto 83">
              <a:extLst>
                <a:ext uri="{FF2B5EF4-FFF2-40B4-BE49-F238E27FC236}">
                  <a16:creationId xmlns:a16="http://schemas.microsoft.com/office/drawing/2014/main" id="{1B375852-B111-45BE-84BB-2F1ACF3853F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045472" y="2882864"/>
              <a:ext cx="192995" cy="264161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6" name="Conector recto 75">
            <a:extLst>
              <a:ext uri="{FF2B5EF4-FFF2-40B4-BE49-F238E27FC236}">
                <a16:creationId xmlns:a16="http://schemas.microsoft.com/office/drawing/2014/main" id="{0E7DC298-7573-48FF-AB3E-4D44EB84AFE2}"/>
              </a:ext>
            </a:extLst>
          </p:cNvPr>
          <p:cNvCxnSpPr>
            <a:cxnSpLocks/>
          </p:cNvCxnSpPr>
          <p:nvPr/>
        </p:nvCxnSpPr>
        <p:spPr>
          <a:xfrm flipH="1" flipV="1">
            <a:off x="2994184" y="2476066"/>
            <a:ext cx="7989647" cy="33738"/>
          </a:xfrm>
          <a:prstGeom prst="line">
            <a:avLst/>
          </a:prstGeom>
          <a:ln w="381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8" name="Elipse 17">
            <a:extLst>
              <a:ext uri="{FF2B5EF4-FFF2-40B4-BE49-F238E27FC236}">
                <a16:creationId xmlns:a16="http://schemas.microsoft.com/office/drawing/2014/main" id="{94A69BDB-A271-48D0-B731-C2935B328861}"/>
              </a:ext>
            </a:extLst>
          </p:cNvPr>
          <p:cNvSpPr/>
          <p:nvPr/>
        </p:nvSpPr>
        <p:spPr bwMode="gray">
          <a:xfrm>
            <a:off x="161266" y="1456981"/>
            <a:ext cx="1167313" cy="765756"/>
          </a:xfrm>
          <a:prstGeom prst="ellipse">
            <a:avLst/>
          </a:prstGeom>
          <a:solidFill>
            <a:srgbClr val="00B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MX" sz="1200" b="1" dirty="0"/>
              <a:t>Tkt SalesForce</a:t>
            </a:r>
          </a:p>
        </p:txBody>
      </p:sp>
      <p:cxnSp>
        <p:nvCxnSpPr>
          <p:cNvPr id="20" name="Conector recto 83">
            <a:extLst>
              <a:ext uri="{FF2B5EF4-FFF2-40B4-BE49-F238E27FC236}">
                <a16:creationId xmlns:a16="http://schemas.microsoft.com/office/drawing/2014/main" id="{D71C02A6-5308-4BB7-9DD1-F5A2DCFEB247}"/>
              </a:ext>
            </a:extLst>
          </p:cNvPr>
          <p:cNvCxnSpPr>
            <a:cxnSpLocks/>
          </p:cNvCxnSpPr>
          <p:nvPr/>
        </p:nvCxnSpPr>
        <p:spPr>
          <a:xfrm>
            <a:off x="744923" y="2251403"/>
            <a:ext cx="0" cy="236208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41">
            <a:extLst>
              <a:ext uri="{FF2B5EF4-FFF2-40B4-BE49-F238E27FC236}">
                <a16:creationId xmlns:a16="http://schemas.microsoft.com/office/drawing/2014/main" id="{6FA730EE-9BB1-41A5-B4F8-4030057CB4BD}"/>
              </a:ext>
            </a:extLst>
          </p:cNvPr>
          <p:cNvSpPr txBox="1"/>
          <p:nvPr/>
        </p:nvSpPr>
        <p:spPr bwMode="gray">
          <a:xfrm>
            <a:off x="161585" y="2717102"/>
            <a:ext cx="1313429" cy="11142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Presentan documentación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Solicitan convenios SGR o SGR Express 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s-AR" sz="1200" i="1" dirty="0">
              <a:solidFill>
                <a:schemeClr val="dk1"/>
              </a:solidFill>
            </a:endParaRPr>
          </a:p>
        </p:txBody>
      </p:sp>
      <p:sp>
        <p:nvSpPr>
          <p:cNvPr id="22" name="Elipse 21">
            <a:extLst>
              <a:ext uri="{FF2B5EF4-FFF2-40B4-BE49-F238E27FC236}">
                <a16:creationId xmlns:a16="http://schemas.microsoft.com/office/drawing/2014/main" id="{60304FC4-F0D3-42AE-9C9C-8D4D282B5E14}"/>
              </a:ext>
            </a:extLst>
          </p:cNvPr>
          <p:cNvSpPr/>
          <p:nvPr/>
        </p:nvSpPr>
        <p:spPr bwMode="gray">
          <a:xfrm>
            <a:off x="1493649" y="1456981"/>
            <a:ext cx="1167313" cy="765756"/>
          </a:xfrm>
          <a:prstGeom prst="ellipse">
            <a:avLst/>
          </a:prstGeom>
          <a:solidFill>
            <a:srgbClr val="00B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MX" sz="1200" b="1" dirty="0"/>
              <a:t>Fianza</a:t>
            </a:r>
          </a:p>
        </p:txBody>
      </p:sp>
      <p:sp>
        <p:nvSpPr>
          <p:cNvPr id="23" name="TextBox 41">
            <a:extLst>
              <a:ext uri="{FF2B5EF4-FFF2-40B4-BE49-F238E27FC236}">
                <a16:creationId xmlns:a16="http://schemas.microsoft.com/office/drawing/2014/main" id="{F812470B-9FD3-475D-A0AC-903C864134B9}"/>
              </a:ext>
            </a:extLst>
          </p:cNvPr>
          <p:cNvSpPr txBox="1"/>
          <p:nvPr/>
        </p:nvSpPr>
        <p:spPr bwMode="gray">
          <a:xfrm>
            <a:off x="1552629" y="2717102"/>
            <a:ext cx="1432092" cy="28241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Verificación y envió de documentación (Agroaval – SB)  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Confirmación de LC (Créditos)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Armado, confirmación y envío de Fianza vía SF y mail (CG)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Recepción vía mail de fianza firmada y certificada (CG)</a:t>
            </a:r>
          </a:p>
          <a:p>
            <a:pPr>
              <a:spcBef>
                <a:spcPts val="600"/>
              </a:spcBef>
            </a:pPr>
            <a:endParaRPr lang="es-AR" sz="1200" i="1" dirty="0">
              <a:solidFill>
                <a:schemeClr val="dk1"/>
              </a:solidFill>
            </a:endParaRPr>
          </a:p>
        </p:txBody>
      </p:sp>
      <p:cxnSp>
        <p:nvCxnSpPr>
          <p:cNvPr id="24" name="Conector recto 83">
            <a:extLst>
              <a:ext uri="{FF2B5EF4-FFF2-40B4-BE49-F238E27FC236}">
                <a16:creationId xmlns:a16="http://schemas.microsoft.com/office/drawing/2014/main" id="{B1D346E0-2A1F-48F3-8C6A-472F5DFC0823}"/>
              </a:ext>
            </a:extLst>
          </p:cNvPr>
          <p:cNvCxnSpPr>
            <a:cxnSpLocks/>
          </p:cNvCxnSpPr>
          <p:nvPr/>
        </p:nvCxnSpPr>
        <p:spPr>
          <a:xfrm>
            <a:off x="2093221" y="2248416"/>
            <a:ext cx="0" cy="236208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Elipse 26">
            <a:extLst>
              <a:ext uri="{FF2B5EF4-FFF2-40B4-BE49-F238E27FC236}">
                <a16:creationId xmlns:a16="http://schemas.microsoft.com/office/drawing/2014/main" id="{CB6BA154-C3AE-4633-AECE-1FA98B5904B2}"/>
              </a:ext>
            </a:extLst>
          </p:cNvPr>
          <p:cNvSpPr/>
          <p:nvPr/>
        </p:nvSpPr>
        <p:spPr bwMode="gray">
          <a:xfrm>
            <a:off x="3081219" y="1460139"/>
            <a:ext cx="1167313" cy="765756"/>
          </a:xfrm>
          <a:prstGeom prst="ellipse">
            <a:avLst/>
          </a:prstGeom>
          <a:solidFill>
            <a:srgbClr val="00B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MX" sz="1200" b="1" dirty="0"/>
              <a:t>Tkt SalesForce</a:t>
            </a:r>
          </a:p>
        </p:txBody>
      </p:sp>
      <p:cxnSp>
        <p:nvCxnSpPr>
          <p:cNvPr id="28" name="Conector recto 83">
            <a:extLst>
              <a:ext uri="{FF2B5EF4-FFF2-40B4-BE49-F238E27FC236}">
                <a16:creationId xmlns:a16="http://schemas.microsoft.com/office/drawing/2014/main" id="{08391899-580B-4F52-9813-6FD2EFF3EA94}"/>
              </a:ext>
            </a:extLst>
          </p:cNvPr>
          <p:cNvCxnSpPr>
            <a:cxnSpLocks/>
          </p:cNvCxnSpPr>
          <p:nvPr/>
        </p:nvCxnSpPr>
        <p:spPr>
          <a:xfrm>
            <a:off x="3667184" y="2237426"/>
            <a:ext cx="0" cy="236208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41">
            <a:extLst>
              <a:ext uri="{FF2B5EF4-FFF2-40B4-BE49-F238E27FC236}">
                <a16:creationId xmlns:a16="http://schemas.microsoft.com/office/drawing/2014/main" id="{9AC7B014-9802-433A-A1F5-9410C2D03608}"/>
              </a:ext>
            </a:extLst>
          </p:cNvPr>
          <p:cNvSpPr txBox="1"/>
          <p:nvPr/>
        </p:nvSpPr>
        <p:spPr bwMode="gray">
          <a:xfrm>
            <a:off x="3040492" y="2701284"/>
            <a:ext cx="1432092" cy="20346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Carga de pedido y verificación de monto disponible para facturar (Cobranzas)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Recepción de factura</a:t>
            </a:r>
          </a:p>
        </p:txBody>
      </p:sp>
      <p:sp>
        <p:nvSpPr>
          <p:cNvPr id="32" name="Elipse 31">
            <a:extLst>
              <a:ext uri="{FF2B5EF4-FFF2-40B4-BE49-F238E27FC236}">
                <a16:creationId xmlns:a16="http://schemas.microsoft.com/office/drawing/2014/main" id="{49881596-7825-4099-94F8-78B81DFDA70D}"/>
              </a:ext>
            </a:extLst>
          </p:cNvPr>
          <p:cNvSpPr/>
          <p:nvPr/>
        </p:nvSpPr>
        <p:spPr bwMode="gray">
          <a:xfrm>
            <a:off x="4544010" y="1450340"/>
            <a:ext cx="1167313" cy="765756"/>
          </a:xfrm>
          <a:prstGeom prst="ellipse">
            <a:avLst/>
          </a:prstGeom>
          <a:solidFill>
            <a:srgbClr val="00B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MX" sz="1200" b="1" dirty="0"/>
              <a:t>Cotización y cheques</a:t>
            </a:r>
          </a:p>
        </p:txBody>
      </p:sp>
      <p:cxnSp>
        <p:nvCxnSpPr>
          <p:cNvPr id="33" name="Conector recto 83">
            <a:extLst>
              <a:ext uri="{FF2B5EF4-FFF2-40B4-BE49-F238E27FC236}">
                <a16:creationId xmlns:a16="http://schemas.microsoft.com/office/drawing/2014/main" id="{35497A2A-54F6-405D-9208-B0A3BC76F1AA}"/>
              </a:ext>
            </a:extLst>
          </p:cNvPr>
          <p:cNvCxnSpPr>
            <a:cxnSpLocks/>
          </p:cNvCxnSpPr>
          <p:nvPr/>
        </p:nvCxnSpPr>
        <p:spPr>
          <a:xfrm>
            <a:off x="5127667" y="2248416"/>
            <a:ext cx="0" cy="236208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41">
            <a:extLst>
              <a:ext uri="{FF2B5EF4-FFF2-40B4-BE49-F238E27FC236}">
                <a16:creationId xmlns:a16="http://schemas.microsoft.com/office/drawing/2014/main" id="{CE1BCC13-C663-4CD9-9053-AB1330FF020D}"/>
              </a:ext>
            </a:extLst>
          </p:cNvPr>
          <p:cNvSpPr txBox="1"/>
          <p:nvPr/>
        </p:nvSpPr>
        <p:spPr bwMode="gray">
          <a:xfrm>
            <a:off x="4605970" y="2712274"/>
            <a:ext cx="1601629" cy="3615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Actualización de base, cálculo y envió de cotización con detalle del monto del cheque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Recepción de cheque físico o echeq vía mail.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 Envió de detalle con datos del cliente, monto, cantidad de cheques, firmante, carácter y fiadores (Agroaval)</a:t>
            </a:r>
          </a:p>
        </p:txBody>
      </p:sp>
      <p:sp>
        <p:nvSpPr>
          <p:cNvPr id="37" name="Elipse 36">
            <a:extLst>
              <a:ext uri="{FF2B5EF4-FFF2-40B4-BE49-F238E27FC236}">
                <a16:creationId xmlns:a16="http://schemas.microsoft.com/office/drawing/2014/main" id="{4AB2B7C2-8B57-4CCA-A828-15AA8266DDEC}"/>
              </a:ext>
            </a:extLst>
          </p:cNvPr>
          <p:cNvSpPr/>
          <p:nvPr/>
        </p:nvSpPr>
        <p:spPr bwMode="gray">
          <a:xfrm>
            <a:off x="6383972" y="1482660"/>
            <a:ext cx="1167313" cy="765756"/>
          </a:xfrm>
          <a:prstGeom prst="ellipse">
            <a:avLst/>
          </a:prstGeom>
          <a:solidFill>
            <a:srgbClr val="00B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MX" sz="1200" b="1" dirty="0"/>
              <a:t>Firma Aval y Boleto de venta</a:t>
            </a:r>
          </a:p>
        </p:txBody>
      </p:sp>
      <p:sp>
        <p:nvSpPr>
          <p:cNvPr id="38" name="TextBox 41">
            <a:extLst>
              <a:ext uri="{FF2B5EF4-FFF2-40B4-BE49-F238E27FC236}">
                <a16:creationId xmlns:a16="http://schemas.microsoft.com/office/drawing/2014/main" id="{501A31E1-8D4D-4261-9F9A-0827845260E0}"/>
              </a:ext>
            </a:extLst>
          </p:cNvPr>
          <p:cNvSpPr txBox="1"/>
          <p:nvPr/>
        </p:nvSpPr>
        <p:spPr bwMode="gray">
          <a:xfrm>
            <a:off x="6228298" y="2654932"/>
            <a:ext cx="1867505" cy="419303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Recepción y envió del aval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 Detalle de las instrucciones para la firma del aval vía mail 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Recepción digital, validación e indicaciones para que realicen el envío documentación solicitada, fianza y cheques (físico)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Recepción del BV del detalle de la negociación del cheque (SB)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Ingreso de datos del BV del cliente en la base, calculo y confirmación de comisión de Agroaval</a:t>
            </a:r>
          </a:p>
          <a:p>
            <a:pPr>
              <a:spcBef>
                <a:spcPts val="600"/>
              </a:spcBef>
            </a:pPr>
            <a:endParaRPr lang="es-AR" sz="1200" b="1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s-AR" sz="1200" i="1" dirty="0">
              <a:solidFill>
                <a:schemeClr val="dk1"/>
              </a:solidFill>
            </a:endParaRPr>
          </a:p>
        </p:txBody>
      </p:sp>
      <p:cxnSp>
        <p:nvCxnSpPr>
          <p:cNvPr id="40" name="Conector recto 83">
            <a:extLst>
              <a:ext uri="{FF2B5EF4-FFF2-40B4-BE49-F238E27FC236}">
                <a16:creationId xmlns:a16="http://schemas.microsoft.com/office/drawing/2014/main" id="{7BFA8AA6-E2F1-4E58-84D8-2A59FC6CAD63}"/>
              </a:ext>
            </a:extLst>
          </p:cNvPr>
          <p:cNvCxnSpPr>
            <a:cxnSpLocks/>
          </p:cNvCxnSpPr>
          <p:nvPr/>
        </p:nvCxnSpPr>
        <p:spPr>
          <a:xfrm>
            <a:off x="6963651" y="2271433"/>
            <a:ext cx="0" cy="236208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Elipse 40">
            <a:extLst>
              <a:ext uri="{FF2B5EF4-FFF2-40B4-BE49-F238E27FC236}">
                <a16:creationId xmlns:a16="http://schemas.microsoft.com/office/drawing/2014/main" id="{499B681F-048A-4564-BE8D-3B86354045D4}"/>
              </a:ext>
            </a:extLst>
          </p:cNvPr>
          <p:cNvSpPr/>
          <p:nvPr/>
        </p:nvSpPr>
        <p:spPr bwMode="gray">
          <a:xfrm>
            <a:off x="8391799" y="1469238"/>
            <a:ext cx="1531457" cy="765756"/>
          </a:xfrm>
          <a:prstGeom prst="ellipse">
            <a:avLst/>
          </a:prstGeom>
          <a:solidFill>
            <a:srgbClr val="00B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MX" sz="1200" b="1" dirty="0"/>
              <a:t>Comunicación</a:t>
            </a:r>
          </a:p>
          <a:p>
            <a:pPr algn="ctr"/>
            <a:r>
              <a:rPr lang="es-MX" sz="1200" b="1" dirty="0"/>
              <a:t>Echeq - Recibo - NC</a:t>
            </a:r>
          </a:p>
        </p:txBody>
      </p:sp>
      <p:cxnSp>
        <p:nvCxnSpPr>
          <p:cNvPr id="42" name="Conector recto 83">
            <a:extLst>
              <a:ext uri="{FF2B5EF4-FFF2-40B4-BE49-F238E27FC236}">
                <a16:creationId xmlns:a16="http://schemas.microsoft.com/office/drawing/2014/main" id="{827C10E0-281E-4AD2-9520-FAE1A6279DD2}"/>
              </a:ext>
            </a:extLst>
          </p:cNvPr>
          <p:cNvCxnSpPr>
            <a:cxnSpLocks/>
          </p:cNvCxnSpPr>
          <p:nvPr/>
        </p:nvCxnSpPr>
        <p:spPr>
          <a:xfrm>
            <a:off x="9157528" y="2237426"/>
            <a:ext cx="0" cy="236208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Elipse 42">
            <a:extLst>
              <a:ext uri="{FF2B5EF4-FFF2-40B4-BE49-F238E27FC236}">
                <a16:creationId xmlns:a16="http://schemas.microsoft.com/office/drawing/2014/main" id="{0BC63320-4021-4D37-A34F-463BD2EDEDD7}"/>
              </a:ext>
            </a:extLst>
          </p:cNvPr>
          <p:cNvSpPr/>
          <p:nvPr/>
        </p:nvSpPr>
        <p:spPr bwMode="gray">
          <a:xfrm>
            <a:off x="10311913" y="1505677"/>
            <a:ext cx="1295503" cy="765756"/>
          </a:xfrm>
          <a:prstGeom prst="ellipse">
            <a:avLst/>
          </a:prstGeom>
          <a:solidFill>
            <a:srgbClr val="00B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MX" sz="1200" b="1" dirty="0"/>
              <a:t>Liquidación Final</a:t>
            </a:r>
          </a:p>
        </p:txBody>
      </p:sp>
      <p:sp>
        <p:nvSpPr>
          <p:cNvPr id="45" name="TextBox 41">
            <a:extLst>
              <a:ext uri="{FF2B5EF4-FFF2-40B4-BE49-F238E27FC236}">
                <a16:creationId xmlns:a16="http://schemas.microsoft.com/office/drawing/2014/main" id="{21B9E803-7558-4A50-8FCE-3FC2E5C23FE9}"/>
              </a:ext>
            </a:extLst>
          </p:cNvPr>
          <p:cNvSpPr txBox="1"/>
          <p:nvPr/>
        </p:nvSpPr>
        <p:spPr bwMode="gray">
          <a:xfrm>
            <a:off x="8300345" y="2664966"/>
            <a:ext cx="1814615" cy="366232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Confirmación al cliente de la venta del cheque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Ok para comisiones y movimiento de capitales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Recepción del comprobante de echeq para su confirmación de ingreso a cuenta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Emisión de recibo y calculo de la NC, por comisión y tasa de la SGR </a:t>
            </a:r>
          </a:p>
        </p:txBody>
      </p:sp>
      <p:cxnSp>
        <p:nvCxnSpPr>
          <p:cNvPr id="46" name="Conector recto 83">
            <a:extLst>
              <a:ext uri="{FF2B5EF4-FFF2-40B4-BE49-F238E27FC236}">
                <a16:creationId xmlns:a16="http://schemas.microsoft.com/office/drawing/2014/main" id="{E628C7DF-8C4F-42AD-9645-D4F408B40F9C}"/>
              </a:ext>
            </a:extLst>
          </p:cNvPr>
          <p:cNvCxnSpPr>
            <a:cxnSpLocks/>
          </p:cNvCxnSpPr>
          <p:nvPr/>
        </p:nvCxnSpPr>
        <p:spPr>
          <a:xfrm>
            <a:off x="10997627" y="2288209"/>
            <a:ext cx="0" cy="236208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1">
            <a:extLst>
              <a:ext uri="{FF2B5EF4-FFF2-40B4-BE49-F238E27FC236}">
                <a16:creationId xmlns:a16="http://schemas.microsoft.com/office/drawing/2014/main" id="{4115D615-B71F-4BE9-93B7-6811B7DE9216}"/>
              </a:ext>
            </a:extLst>
          </p:cNvPr>
          <p:cNvSpPr txBox="1"/>
          <p:nvPr/>
        </p:nvSpPr>
        <p:spPr bwMode="gray">
          <a:xfrm>
            <a:off x="10337749" y="2670868"/>
            <a:ext cx="1432083" cy="20346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Detalle y envió de documentación de la operación vía mail (monto de FC, recibo y NC)</a:t>
            </a:r>
          </a:p>
        </p:txBody>
      </p:sp>
      <p:pic>
        <p:nvPicPr>
          <p:cNvPr id="51" name="Imagen 50">
            <a:extLst>
              <a:ext uri="{FF2B5EF4-FFF2-40B4-BE49-F238E27FC236}">
                <a16:creationId xmlns:a16="http://schemas.microsoft.com/office/drawing/2014/main" id="{08D4FF3E-C229-406A-BEE3-EBC484FC1F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20914" y="6415028"/>
            <a:ext cx="1508233" cy="343897"/>
          </a:xfrm>
          <a:prstGeom prst="rect">
            <a:avLst/>
          </a:prstGeom>
        </p:spPr>
      </p:pic>
      <p:pic>
        <p:nvPicPr>
          <p:cNvPr id="53" name="Gráfico 69">
            <a:extLst>
              <a:ext uri="{FF2B5EF4-FFF2-40B4-BE49-F238E27FC236}">
                <a16:creationId xmlns:a16="http://schemas.microsoft.com/office/drawing/2014/main" id="{A0BB4502-30B9-4BD4-B56D-A6B983100E5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96052" y="4578215"/>
            <a:ext cx="547463" cy="547463"/>
          </a:xfrm>
          <a:prstGeom prst="rect">
            <a:avLst/>
          </a:prstGeom>
        </p:spPr>
      </p:pic>
      <p:pic>
        <p:nvPicPr>
          <p:cNvPr id="56" name="Imagen 55" descr="Imagen que contiene dibujo&#10;&#10;Descripción generada automáticamente">
            <a:extLst>
              <a:ext uri="{FF2B5EF4-FFF2-40B4-BE49-F238E27FC236}">
                <a16:creationId xmlns:a16="http://schemas.microsoft.com/office/drawing/2014/main" id="{2AB6B68A-F974-4A3C-9744-9ECBF29E549D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837473B0-CC2E-450A-ABE3-18F120FF3D39}">
                <a1611:picAttrSrcUrl xmlns:a1611="http://schemas.microsoft.com/office/drawing/2016/11/main" r:id="rId6"/>
              </a:ext>
            </a:extLst>
          </a:blip>
          <a:stretch>
            <a:fillRect/>
          </a:stretch>
        </p:blipFill>
        <p:spPr>
          <a:xfrm>
            <a:off x="1961685" y="5699192"/>
            <a:ext cx="378363" cy="378363"/>
          </a:xfrm>
          <a:prstGeom prst="rect">
            <a:avLst/>
          </a:prstGeom>
          <a:noFill/>
          <a:ln>
            <a:noFill/>
          </a:ln>
        </p:spPr>
      </p:pic>
      <p:pic>
        <p:nvPicPr>
          <p:cNvPr id="57" name="Gráfico 72">
            <a:extLst>
              <a:ext uri="{FF2B5EF4-FFF2-40B4-BE49-F238E27FC236}">
                <a16:creationId xmlns:a16="http://schemas.microsoft.com/office/drawing/2014/main" id="{D060D0BF-A3D9-4DA4-8A8C-3FBD05947BD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760184" y="983366"/>
            <a:ext cx="406933" cy="406933"/>
          </a:xfrm>
          <a:prstGeom prst="rect">
            <a:avLst/>
          </a:prstGeom>
        </p:spPr>
      </p:pic>
      <p:sp>
        <p:nvSpPr>
          <p:cNvPr id="58" name="Forma libre: forma 57">
            <a:extLst>
              <a:ext uri="{FF2B5EF4-FFF2-40B4-BE49-F238E27FC236}">
                <a16:creationId xmlns:a16="http://schemas.microsoft.com/office/drawing/2014/main" id="{8FDB9CFC-C82B-453D-AA07-BB184C3F856A}"/>
              </a:ext>
            </a:extLst>
          </p:cNvPr>
          <p:cNvSpPr/>
          <p:nvPr/>
        </p:nvSpPr>
        <p:spPr bwMode="gray">
          <a:xfrm>
            <a:off x="9069656" y="5407359"/>
            <a:ext cx="275991" cy="362196"/>
          </a:xfrm>
          <a:custGeom>
            <a:avLst/>
            <a:gdLst>
              <a:gd name="connsiteX0" fmla="*/ 167213 w 914400"/>
              <a:gd name="connsiteY0" fmla="*/ 707768 h 1200011"/>
              <a:gd name="connsiteX1" fmla="*/ 747187 w 914400"/>
              <a:gd name="connsiteY1" fmla="*/ 707768 h 1200011"/>
              <a:gd name="connsiteX2" fmla="*/ 914400 w 914400"/>
              <a:gd name="connsiteY2" fmla="*/ 874981 h 1200011"/>
              <a:gd name="connsiteX3" fmla="*/ 914400 w 914400"/>
              <a:gd name="connsiteY3" fmla="*/ 1200011 h 1200011"/>
              <a:gd name="connsiteX4" fmla="*/ 0 w 914400"/>
              <a:gd name="connsiteY4" fmla="*/ 1200011 h 1200011"/>
              <a:gd name="connsiteX5" fmla="*/ 0 w 914400"/>
              <a:gd name="connsiteY5" fmla="*/ 874981 h 1200011"/>
              <a:gd name="connsiteX6" fmla="*/ 167213 w 914400"/>
              <a:gd name="connsiteY6" fmla="*/ 707768 h 1200011"/>
              <a:gd name="connsiteX7" fmla="*/ 457201 w 914400"/>
              <a:gd name="connsiteY7" fmla="*/ 0 h 1200011"/>
              <a:gd name="connsiteX8" fmla="*/ 742337 w 914400"/>
              <a:gd name="connsiteY8" fmla="*/ 285136 h 1200011"/>
              <a:gd name="connsiteX9" fmla="*/ 457201 w 914400"/>
              <a:gd name="connsiteY9" fmla="*/ 570272 h 1200011"/>
              <a:gd name="connsiteX10" fmla="*/ 172065 w 914400"/>
              <a:gd name="connsiteY10" fmla="*/ 285136 h 1200011"/>
              <a:gd name="connsiteX11" fmla="*/ 457201 w 914400"/>
              <a:gd name="connsiteY11" fmla="*/ 0 h 12000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14400" h="1200011">
                <a:moveTo>
                  <a:pt x="167213" y="707768"/>
                </a:moveTo>
                <a:lnTo>
                  <a:pt x="747187" y="707768"/>
                </a:lnTo>
                <a:cubicBezTo>
                  <a:pt x="839536" y="707768"/>
                  <a:pt x="914400" y="782632"/>
                  <a:pt x="914400" y="874981"/>
                </a:cubicBezTo>
                <a:lnTo>
                  <a:pt x="914400" y="1200011"/>
                </a:lnTo>
                <a:lnTo>
                  <a:pt x="0" y="1200011"/>
                </a:lnTo>
                <a:lnTo>
                  <a:pt x="0" y="874981"/>
                </a:lnTo>
                <a:cubicBezTo>
                  <a:pt x="0" y="782632"/>
                  <a:pt x="74864" y="707768"/>
                  <a:pt x="167213" y="707768"/>
                </a:cubicBezTo>
                <a:close/>
                <a:moveTo>
                  <a:pt x="457201" y="0"/>
                </a:moveTo>
                <a:cubicBezTo>
                  <a:pt x="614677" y="0"/>
                  <a:pt x="742337" y="127660"/>
                  <a:pt x="742337" y="285136"/>
                </a:cubicBezTo>
                <a:cubicBezTo>
                  <a:pt x="742337" y="442612"/>
                  <a:pt x="614677" y="570272"/>
                  <a:pt x="457201" y="570272"/>
                </a:cubicBezTo>
                <a:cubicBezTo>
                  <a:pt x="299725" y="570272"/>
                  <a:pt x="172065" y="442612"/>
                  <a:pt x="172065" y="285136"/>
                </a:cubicBezTo>
                <a:cubicBezTo>
                  <a:pt x="172065" y="127660"/>
                  <a:pt x="299725" y="0"/>
                  <a:pt x="457201" y="0"/>
                </a:cubicBezTo>
                <a:close/>
              </a:path>
            </a:pathLst>
          </a:custGeom>
          <a:solidFill>
            <a:srgbClr val="0061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57031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750"/>
                            </p:stCondLst>
                            <p:childTnLst>
                              <p:par>
                                <p:cTn id="1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25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750"/>
                            </p:stCondLst>
                            <p:childTnLst>
                              <p:par>
                                <p:cTn id="2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75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000"/>
                            </p:stCondLst>
                            <p:childTnLst>
                              <p:par>
                                <p:cTn id="3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000"/>
                            </p:stCondLst>
                            <p:childTnLst>
                              <p:par>
                                <p:cTn id="34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6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250"/>
                            </p:stCondLst>
                            <p:childTnLst>
                              <p:par>
                                <p:cTn id="3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2500"/>
                            </p:stCondLst>
                            <p:childTnLst>
                              <p:par>
                                <p:cTn id="42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4" dur="2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2750"/>
                            </p:stCondLst>
                            <p:childTnLst>
                              <p:par>
                                <p:cTn id="4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2750"/>
                            </p:stCondLst>
                            <p:childTnLst>
                              <p:par>
                                <p:cTn id="4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2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3000"/>
                            </p:stCondLst>
                            <p:childTnLst>
                              <p:par>
                                <p:cTn id="5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5" dur="2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250"/>
                            </p:stCondLst>
                            <p:childTnLst>
                              <p:par>
                                <p:cTn id="5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3250"/>
                            </p:stCondLst>
                            <p:childTnLst>
                              <p:par>
                                <p:cTn id="6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25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3500"/>
                            </p:stCondLst>
                            <p:childTnLst>
                              <p:par>
                                <p:cTn id="6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3500"/>
                            </p:stCondLst>
                            <p:childTnLst>
                              <p:par>
                                <p:cTn id="6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9" dur="25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3750"/>
                            </p:stCondLst>
                            <p:childTnLst>
                              <p:par>
                                <p:cTn id="7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25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4000"/>
                            </p:stCondLst>
                            <p:childTnLst>
                              <p:par>
                                <p:cTn id="7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7" dur="25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4250"/>
                            </p:stCondLst>
                            <p:childTnLst>
                              <p:par>
                                <p:cTn id="7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25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4500"/>
                            </p:stCondLst>
                            <p:childTnLst>
                              <p:par>
                                <p:cTn id="8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4500"/>
                            </p:stCondLst>
                            <p:childTnLst>
                              <p:par>
                                <p:cTn id="86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8" dur="25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4750"/>
                            </p:stCondLst>
                            <p:childTnLst>
                              <p:par>
                                <p:cTn id="9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21" grpId="0"/>
      <p:bldP spid="22" grpId="0" animBg="1"/>
      <p:bldP spid="23" grpId="0"/>
      <p:bldP spid="27" grpId="0" animBg="1"/>
      <p:bldP spid="29" grpId="0"/>
      <p:bldP spid="32" grpId="0" animBg="1"/>
      <p:bldP spid="35" grpId="0"/>
      <p:bldP spid="37" grpId="0" animBg="1"/>
      <p:bldP spid="38" grpId="0"/>
      <p:bldP spid="41" grpId="0" animBg="1"/>
      <p:bldP spid="43" grpId="0" animBg="1"/>
      <p:bldP spid="45" grpId="0"/>
      <p:bldP spid="50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>
            <a:extLst>
              <a:ext uri="{FF2B5EF4-FFF2-40B4-BE49-F238E27FC236}">
                <a16:creationId xmlns:a16="http://schemas.microsoft.com/office/drawing/2014/main" id="{BF818D66-66F3-44D2-A16C-80A70E6169D1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s-AR" dirty="0"/>
              <a:t>Bayer – Monsanto – Externos 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8F92F0E9-C752-44F6-A326-147AF46387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b="1" dirty="0"/>
              <a:t>Stakeholders</a:t>
            </a:r>
            <a:endParaRPr lang="es-AR" dirty="0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E57D9D37-7FEF-49E5-BAF4-3E59ECCC09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b="1" smtClean="0"/>
              <a:t>7</a:t>
            </a:fld>
            <a:endParaRPr lang="en-US" b="1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D3B07BF6-52AE-42DF-A722-EDEB8F5556A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20914" y="6415028"/>
            <a:ext cx="1508233" cy="343897"/>
          </a:xfrm>
          <a:prstGeom prst="rect">
            <a:avLst/>
          </a:prstGeom>
        </p:spPr>
      </p:pic>
      <p:sp>
        <p:nvSpPr>
          <p:cNvPr id="11" name="Elipse 10">
            <a:extLst>
              <a:ext uri="{FF2B5EF4-FFF2-40B4-BE49-F238E27FC236}">
                <a16:creationId xmlns:a16="http://schemas.microsoft.com/office/drawing/2014/main" id="{CF3E8AC7-2574-4A85-A3F5-13DA3056C3DD}"/>
              </a:ext>
            </a:extLst>
          </p:cNvPr>
          <p:cNvSpPr/>
          <p:nvPr/>
        </p:nvSpPr>
        <p:spPr bwMode="gray">
          <a:xfrm>
            <a:off x="608294" y="1761532"/>
            <a:ext cx="1627322" cy="127804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MX" sz="1600" b="1" dirty="0"/>
              <a:t>Accounting</a:t>
            </a:r>
          </a:p>
        </p:txBody>
      </p:sp>
      <p:sp>
        <p:nvSpPr>
          <p:cNvPr id="12" name="Elipse 11">
            <a:extLst>
              <a:ext uri="{FF2B5EF4-FFF2-40B4-BE49-F238E27FC236}">
                <a16:creationId xmlns:a16="http://schemas.microsoft.com/office/drawing/2014/main" id="{E2A6FD84-CF8D-43E0-B9C3-7A2F0D250750}"/>
              </a:ext>
            </a:extLst>
          </p:cNvPr>
          <p:cNvSpPr/>
          <p:nvPr/>
        </p:nvSpPr>
        <p:spPr bwMode="gray">
          <a:xfrm>
            <a:off x="6302788" y="1743410"/>
            <a:ext cx="1678438" cy="1267166"/>
          </a:xfrm>
          <a:prstGeom prst="ellipse">
            <a:avLst/>
          </a:prstGeom>
          <a:solidFill>
            <a:schemeClr val="accent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MX" sz="1600" b="1" dirty="0"/>
              <a:t>Marketing</a:t>
            </a:r>
          </a:p>
        </p:txBody>
      </p:sp>
      <p:sp>
        <p:nvSpPr>
          <p:cNvPr id="13" name="Elipse 12">
            <a:extLst>
              <a:ext uri="{FF2B5EF4-FFF2-40B4-BE49-F238E27FC236}">
                <a16:creationId xmlns:a16="http://schemas.microsoft.com/office/drawing/2014/main" id="{8ED6F425-1F67-43E0-A37D-B52BD0EEC0A6}"/>
              </a:ext>
            </a:extLst>
          </p:cNvPr>
          <p:cNvSpPr/>
          <p:nvPr/>
        </p:nvSpPr>
        <p:spPr bwMode="gray">
          <a:xfrm>
            <a:off x="6392990" y="3522703"/>
            <a:ext cx="1531741" cy="1267166"/>
          </a:xfrm>
          <a:prstGeom prst="ellipse">
            <a:avLst/>
          </a:prstGeom>
          <a:solidFill>
            <a:schemeClr val="accent3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MX" sz="1600" b="1" dirty="0"/>
              <a:t>Analistas de Cobranzas</a:t>
            </a:r>
          </a:p>
        </p:txBody>
      </p:sp>
      <p:sp>
        <p:nvSpPr>
          <p:cNvPr id="14" name="Elipse 13">
            <a:extLst>
              <a:ext uri="{FF2B5EF4-FFF2-40B4-BE49-F238E27FC236}">
                <a16:creationId xmlns:a16="http://schemas.microsoft.com/office/drawing/2014/main" id="{498312E2-A261-46DD-AFF9-31C9AEEB01F8}"/>
              </a:ext>
            </a:extLst>
          </p:cNvPr>
          <p:cNvSpPr/>
          <p:nvPr/>
        </p:nvSpPr>
        <p:spPr bwMode="gray">
          <a:xfrm>
            <a:off x="8359215" y="3512530"/>
            <a:ext cx="1267168" cy="1267166"/>
          </a:xfrm>
          <a:prstGeom prst="ellipse">
            <a:avLst/>
          </a:prstGeom>
          <a:solidFill>
            <a:schemeClr val="accent3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MX" sz="1600" b="1" dirty="0"/>
              <a:t>Agroaval</a:t>
            </a:r>
          </a:p>
        </p:txBody>
      </p:sp>
      <p:sp>
        <p:nvSpPr>
          <p:cNvPr id="15" name="Elipse 14">
            <a:extLst>
              <a:ext uri="{FF2B5EF4-FFF2-40B4-BE49-F238E27FC236}">
                <a16:creationId xmlns:a16="http://schemas.microsoft.com/office/drawing/2014/main" id="{101D37ED-638A-4345-A5FA-4EBD12DC0C20}"/>
              </a:ext>
            </a:extLst>
          </p:cNvPr>
          <p:cNvSpPr/>
          <p:nvPr/>
        </p:nvSpPr>
        <p:spPr bwMode="gray">
          <a:xfrm>
            <a:off x="7316367" y="5265458"/>
            <a:ext cx="1508232" cy="1267166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MX" sz="1600" b="1" dirty="0"/>
              <a:t>Sociedad de Bolsa</a:t>
            </a:r>
          </a:p>
        </p:txBody>
      </p:sp>
      <p:sp>
        <p:nvSpPr>
          <p:cNvPr id="16" name="Elipse 15">
            <a:extLst>
              <a:ext uri="{FF2B5EF4-FFF2-40B4-BE49-F238E27FC236}">
                <a16:creationId xmlns:a16="http://schemas.microsoft.com/office/drawing/2014/main" id="{DE173A99-9B0F-4A17-A48F-0CF794EAF0FF}"/>
              </a:ext>
            </a:extLst>
          </p:cNvPr>
          <p:cNvSpPr/>
          <p:nvPr/>
        </p:nvSpPr>
        <p:spPr bwMode="gray">
          <a:xfrm>
            <a:off x="10077303" y="1745220"/>
            <a:ext cx="1565256" cy="126716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MX" sz="1600" b="1" dirty="0"/>
              <a:t>Sales Experience</a:t>
            </a:r>
          </a:p>
        </p:txBody>
      </p:sp>
      <p:sp>
        <p:nvSpPr>
          <p:cNvPr id="17" name="Elipse 16">
            <a:extLst>
              <a:ext uri="{FF2B5EF4-FFF2-40B4-BE49-F238E27FC236}">
                <a16:creationId xmlns:a16="http://schemas.microsoft.com/office/drawing/2014/main" id="{AA70B381-1A4F-491B-A61C-3B9948435EA6}"/>
              </a:ext>
            </a:extLst>
          </p:cNvPr>
          <p:cNvSpPr/>
          <p:nvPr/>
        </p:nvSpPr>
        <p:spPr bwMode="gray">
          <a:xfrm>
            <a:off x="2527883" y="1749366"/>
            <a:ext cx="1595487" cy="1267166"/>
          </a:xfrm>
          <a:prstGeom prst="ellipse">
            <a:avLst/>
          </a:prstGeom>
          <a:solidFill>
            <a:schemeClr val="accent1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MX" sz="1600" b="1" dirty="0"/>
              <a:t>Tesorería</a:t>
            </a:r>
          </a:p>
        </p:txBody>
      </p:sp>
      <p:sp>
        <p:nvSpPr>
          <p:cNvPr id="18" name="Elipse 17">
            <a:extLst>
              <a:ext uri="{FF2B5EF4-FFF2-40B4-BE49-F238E27FC236}">
                <a16:creationId xmlns:a16="http://schemas.microsoft.com/office/drawing/2014/main" id="{7AC1F759-700E-4BDC-BE83-DD1BBA93F0E3}"/>
              </a:ext>
            </a:extLst>
          </p:cNvPr>
          <p:cNvSpPr/>
          <p:nvPr/>
        </p:nvSpPr>
        <p:spPr bwMode="gray">
          <a:xfrm>
            <a:off x="4481540" y="3522703"/>
            <a:ext cx="1531740" cy="1267166"/>
          </a:xfrm>
          <a:prstGeom prst="ellipse">
            <a:avLst/>
          </a:prstGeom>
          <a:solidFill>
            <a:schemeClr val="accent3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MX" sz="1600" b="1" dirty="0"/>
              <a:t>Analistas de Créditos</a:t>
            </a:r>
          </a:p>
        </p:txBody>
      </p:sp>
      <p:sp>
        <p:nvSpPr>
          <p:cNvPr id="19" name="Elipse 18">
            <a:extLst>
              <a:ext uri="{FF2B5EF4-FFF2-40B4-BE49-F238E27FC236}">
                <a16:creationId xmlns:a16="http://schemas.microsoft.com/office/drawing/2014/main" id="{0F294849-E296-4ED0-B652-46B803A3CE32}"/>
              </a:ext>
            </a:extLst>
          </p:cNvPr>
          <p:cNvSpPr/>
          <p:nvPr/>
        </p:nvSpPr>
        <p:spPr bwMode="gray">
          <a:xfrm>
            <a:off x="4458269" y="1733386"/>
            <a:ext cx="1565258" cy="1267166"/>
          </a:xfrm>
          <a:prstGeom prst="ellipse">
            <a:avLst/>
          </a:prstGeom>
          <a:solidFill>
            <a:schemeClr val="accent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MX" sz="1600" b="1" dirty="0"/>
              <a:t>Finance BP</a:t>
            </a:r>
          </a:p>
        </p:txBody>
      </p:sp>
      <p:sp>
        <p:nvSpPr>
          <p:cNvPr id="20" name="Elipse 19">
            <a:extLst>
              <a:ext uri="{FF2B5EF4-FFF2-40B4-BE49-F238E27FC236}">
                <a16:creationId xmlns:a16="http://schemas.microsoft.com/office/drawing/2014/main" id="{A52F72D5-54E7-46EE-87F7-7A88538A99EB}"/>
              </a:ext>
            </a:extLst>
          </p:cNvPr>
          <p:cNvSpPr/>
          <p:nvPr/>
        </p:nvSpPr>
        <p:spPr bwMode="gray">
          <a:xfrm>
            <a:off x="8239358" y="1737702"/>
            <a:ext cx="1565257" cy="1267166"/>
          </a:xfrm>
          <a:prstGeom prst="ellipse">
            <a:avLst/>
          </a:prstGeom>
          <a:solidFill>
            <a:schemeClr val="accent1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MX" sz="1600" b="1" dirty="0"/>
              <a:t>FP&amp;A</a:t>
            </a:r>
          </a:p>
        </p:txBody>
      </p:sp>
      <p:sp>
        <p:nvSpPr>
          <p:cNvPr id="21" name="Elipse 20">
            <a:extLst>
              <a:ext uri="{FF2B5EF4-FFF2-40B4-BE49-F238E27FC236}">
                <a16:creationId xmlns:a16="http://schemas.microsoft.com/office/drawing/2014/main" id="{B92FDCB8-046D-4086-B92A-6D15439AB4F4}"/>
              </a:ext>
            </a:extLst>
          </p:cNvPr>
          <p:cNvSpPr/>
          <p:nvPr/>
        </p:nvSpPr>
        <p:spPr bwMode="gray">
          <a:xfrm>
            <a:off x="3579312" y="5290375"/>
            <a:ext cx="1525679" cy="1267166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MX" sz="1600" b="1" dirty="0"/>
              <a:t>Control de Garantías - HAMUI</a:t>
            </a:r>
          </a:p>
        </p:txBody>
      </p:sp>
      <p:sp>
        <p:nvSpPr>
          <p:cNvPr id="22" name="Elipse 21">
            <a:extLst>
              <a:ext uri="{FF2B5EF4-FFF2-40B4-BE49-F238E27FC236}">
                <a16:creationId xmlns:a16="http://schemas.microsoft.com/office/drawing/2014/main" id="{ADFF5C03-CBFF-48FB-973B-1E2382AAF107}"/>
              </a:ext>
            </a:extLst>
          </p:cNvPr>
          <p:cNvSpPr/>
          <p:nvPr/>
        </p:nvSpPr>
        <p:spPr bwMode="gray">
          <a:xfrm>
            <a:off x="2689778" y="3510263"/>
            <a:ext cx="1267168" cy="1267166"/>
          </a:xfrm>
          <a:prstGeom prst="ellipse">
            <a:avLst/>
          </a:prstGeom>
          <a:solidFill>
            <a:schemeClr val="accent3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MX" sz="1600" b="1" dirty="0"/>
              <a:t>Deloitte</a:t>
            </a:r>
          </a:p>
        </p:txBody>
      </p:sp>
      <p:sp>
        <p:nvSpPr>
          <p:cNvPr id="24" name="Elipse 23">
            <a:extLst>
              <a:ext uri="{FF2B5EF4-FFF2-40B4-BE49-F238E27FC236}">
                <a16:creationId xmlns:a16="http://schemas.microsoft.com/office/drawing/2014/main" id="{48CFF810-606C-47D8-9C32-7FC0DD37709C}"/>
              </a:ext>
            </a:extLst>
          </p:cNvPr>
          <p:cNvSpPr/>
          <p:nvPr/>
        </p:nvSpPr>
        <p:spPr bwMode="gray">
          <a:xfrm>
            <a:off x="5555369" y="5252114"/>
            <a:ext cx="1391051" cy="1267166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MX" sz="1600" b="1" dirty="0"/>
              <a:t>Cliente</a:t>
            </a:r>
          </a:p>
        </p:txBody>
      </p:sp>
      <p:grpSp>
        <p:nvGrpSpPr>
          <p:cNvPr id="26" name="Grupo 25">
            <a:extLst>
              <a:ext uri="{FF2B5EF4-FFF2-40B4-BE49-F238E27FC236}">
                <a16:creationId xmlns:a16="http://schemas.microsoft.com/office/drawing/2014/main" id="{37A49477-57EC-4741-943D-FCA920D90001}"/>
              </a:ext>
            </a:extLst>
          </p:cNvPr>
          <p:cNvGrpSpPr/>
          <p:nvPr/>
        </p:nvGrpSpPr>
        <p:grpSpPr>
          <a:xfrm>
            <a:off x="1421955" y="3039575"/>
            <a:ext cx="9437976" cy="236208"/>
            <a:chOff x="1387340" y="3812752"/>
            <a:chExt cx="9437976" cy="236208"/>
          </a:xfrm>
          <a:effectLst>
            <a:reflection stA="45000" endPos="4000" dist="50800" dir="5400000" sy="-100000" algn="bl" rotWithShape="0"/>
          </a:effectLst>
        </p:grpSpPr>
        <p:cxnSp>
          <p:nvCxnSpPr>
            <p:cNvPr id="27" name="Conector recto 75">
              <a:extLst>
                <a:ext uri="{FF2B5EF4-FFF2-40B4-BE49-F238E27FC236}">
                  <a16:creationId xmlns:a16="http://schemas.microsoft.com/office/drawing/2014/main" id="{7B49C39C-8C1E-4B4E-B82B-CB592358E23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387340" y="4039816"/>
              <a:ext cx="9437976" cy="0"/>
            </a:xfrm>
            <a:prstGeom prst="line">
              <a:avLst/>
            </a:prstGeom>
            <a:ln w="381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8" name="Conector recto 83">
              <a:extLst>
                <a:ext uri="{FF2B5EF4-FFF2-40B4-BE49-F238E27FC236}">
                  <a16:creationId xmlns:a16="http://schemas.microsoft.com/office/drawing/2014/main" id="{8F2BD195-D03F-44AE-9E81-03D0FC9D6F8A}"/>
                </a:ext>
              </a:extLst>
            </p:cNvPr>
            <p:cNvCxnSpPr>
              <a:cxnSpLocks/>
            </p:cNvCxnSpPr>
            <p:nvPr/>
          </p:nvCxnSpPr>
          <p:spPr>
            <a:xfrm>
              <a:off x="1396868" y="3812752"/>
              <a:ext cx="0" cy="236208"/>
            </a:xfrm>
            <a:prstGeom prst="line">
              <a:avLst/>
            </a:prstGeom>
            <a:ln w="381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Conector recto 83">
              <a:extLst>
                <a:ext uri="{FF2B5EF4-FFF2-40B4-BE49-F238E27FC236}">
                  <a16:creationId xmlns:a16="http://schemas.microsoft.com/office/drawing/2014/main" id="{C599C39A-C42C-4D66-ABAF-8E707D4065A3}"/>
                </a:ext>
              </a:extLst>
            </p:cNvPr>
            <p:cNvCxnSpPr>
              <a:cxnSpLocks/>
            </p:cNvCxnSpPr>
            <p:nvPr/>
          </p:nvCxnSpPr>
          <p:spPr>
            <a:xfrm>
              <a:off x="10804996" y="3812752"/>
              <a:ext cx="0" cy="236208"/>
            </a:xfrm>
            <a:prstGeom prst="line">
              <a:avLst/>
            </a:prstGeom>
            <a:ln w="381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Conector recto 83">
              <a:extLst>
                <a:ext uri="{FF2B5EF4-FFF2-40B4-BE49-F238E27FC236}">
                  <a16:creationId xmlns:a16="http://schemas.microsoft.com/office/drawing/2014/main" id="{F1589AA6-E22C-4428-833F-AE3E59C6A780}"/>
                </a:ext>
              </a:extLst>
            </p:cNvPr>
            <p:cNvCxnSpPr>
              <a:cxnSpLocks/>
            </p:cNvCxnSpPr>
            <p:nvPr/>
          </p:nvCxnSpPr>
          <p:spPr>
            <a:xfrm>
              <a:off x="3294494" y="3812752"/>
              <a:ext cx="0" cy="236208"/>
            </a:xfrm>
            <a:prstGeom prst="line">
              <a:avLst/>
            </a:prstGeom>
            <a:ln w="381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Conector recto 83">
              <a:extLst>
                <a:ext uri="{FF2B5EF4-FFF2-40B4-BE49-F238E27FC236}">
                  <a16:creationId xmlns:a16="http://schemas.microsoft.com/office/drawing/2014/main" id="{8AD45460-261D-479A-83A9-32AB06028705}"/>
                </a:ext>
              </a:extLst>
            </p:cNvPr>
            <p:cNvCxnSpPr>
              <a:cxnSpLocks/>
            </p:cNvCxnSpPr>
            <p:nvPr/>
          </p:nvCxnSpPr>
          <p:spPr>
            <a:xfrm>
              <a:off x="5192120" y="3812752"/>
              <a:ext cx="0" cy="236208"/>
            </a:xfrm>
            <a:prstGeom prst="line">
              <a:avLst/>
            </a:prstGeom>
            <a:ln w="381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Conector recto 83">
              <a:extLst>
                <a:ext uri="{FF2B5EF4-FFF2-40B4-BE49-F238E27FC236}">
                  <a16:creationId xmlns:a16="http://schemas.microsoft.com/office/drawing/2014/main" id="{B17B45D6-1041-4087-A9E8-AC137445A737}"/>
                </a:ext>
              </a:extLst>
            </p:cNvPr>
            <p:cNvCxnSpPr>
              <a:cxnSpLocks/>
            </p:cNvCxnSpPr>
            <p:nvPr/>
          </p:nvCxnSpPr>
          <p:spPr>
            <a:xfrm>
              <a:off x="7089746" y="3812752"/>
              <a:ext cx="0" cy="236208"/>
            </a:xfrm>
            <a:prstGeom prst="line">
              <a:avLst/>
            </a:prstGeom>
            <a:ln w="381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Conector recto 83">
              <a:extLst>
                <a:ext uri="{FF2B5EF4-FFF2-40B4-BE49-F238E27FC236}">
                  <a16:creationId xmlns:a16="http://schemas.microsoft.com/office/drawing/2014/main" id="{6B71A52E-E1BB-4203-8F92-668D977B9276}"/>
                </a:ext>
              </a:extLst>
            </p:cNvPr>
            <p:cNvCxnSpPr>
              <a:cxnSpLocks/>
            </p:cNvCxnSpPr>
            <p:nvPr/>
          </p:nvCxnSpPr>
          <p:spPr>
            <a:xfrm>
              <a:off x="8987372" y="3812752"/>
              <a:ext cx="0" cy="236208"/>
            </a:xfrm>
            <a:prstGeom prst="line">
              <a:avLst/>
            </a:prstGeom>
            <a:ln w="381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4" name="Grupo 33">
            <a:extLst>
              <a:ext uri="{FF2B5EF4-FFF2-40B4-BE49-F238E27FC236}">
                <a16:creationId xmlns:a16="http://schemas.microsoft.com/office/drawing/2014/main" id="{112FF51B-24C3-4ABA-B5A8-2B6CEB8341B5}"/>
              </a:ext>
            </a:extLst>
          </p:cNvPr>
          <p:cNvGrpSpPr/>
          <p:nvPr/>
        </p:nvGrpSpPr>
        <p:grpSpPr>
          <a:xfrm rot="10800000">
            <a:off x="3323362" y="3270347"/>
            <a:ext cx="5698625" cy="1758902"/>
            <a:chOff x="3152804" y="4024048"/>
            <a:chExt cx="5698625" cy="1758902"/>
          </a:xfrm>
        </p:grpSpPr>
        <p:cxnSp>
          <p:nvCxnSpPr>
            <p:cNvPr id="35" name="Conector recto 75">
              <a:extLst>
                <a:ext uri="{FF2B5EF4-FFF2-40B4-BE49-F238E27FC236}">
                  <a16:creationId xmlns:a16="http://schemas.microsoft.com/office/drawing/2014/main" id="{7C53E2B3-1B1A-4C2F-95B3-9DF35D9F2566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3181992" y="4024048"/>
              <a:ext cx="5669437" cy="0"/>
            </a:xfrm>
            <a:prstGeom prst="line">
              <a:avLst/>
            </a:prstGeom>
            <a:ln w="381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6" name="Conector recto 83">
              <a:extLst>
                <a:ext uri="{FF2B5EF4-FFF2-40B4-BE49-F238E27FC236}">
                  <a16:creationId xmlns:a16="http://schemas.microsoft.com/office/drawing/2014/main" id="{57A85492-6C90-4A64-863E-2FF11B500EA9}"/>
                </a:ext>
              </a:extLst>
            </p:cNvPr>
            <p:cNvCxnSpPr>
              <a:cxnSpLocks/>
            </p:cNvCxnSpPr>
            <p:nvPr/>
          </p:nvCxnSpPr>
          <p:spPr>
            <a:xfrm>
              <a:off x="3181992" y="4037393"/>
              <a:ext cx="0" cy="236208"/>
            </a:xfrm>
            <a:prstGeom prst="line">
              <a:avLst/>
            </a:prstGeom>
            <a:ln w="381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Conector recto 83">
              <a:extLst>
                <a:ext uri="{FF2B5EF4-FFF2-40B4-BE49-F238E27FC236}">
                  <a16:creationId xmlns:a16="http://schemas.microsoft.com/office/drawing/2014/main" id="{19D520CE-C443-448D-9B0C-5262ACDE270B}"/>
                </a:ext>
              </a:extLst>
            </p:cNvPr>
            <p:cNvCxnSpPr>
              <a:cxnSpLocks/>
            </p:cNvCxnSpPr>
            <p:nvPr/>
          </p:nvCxnSpPr>
          <p:spPr>
            <a:xfrm>
              <a:off x="5018448" y="4043217"/>
              <a:ext cx="0" cy="236208"/>
            </a:xfrm>
            <a:prstGeom prst="line">
              <a:avLst/>
            </a:prstGeom>
            <a:ln w="381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Conector recto 83">
              <a:extLst>
                <a:ext uri="{FF2B5EF4-FFF2-40B4-BE49-F238E27FC236}">
                  <a16:creationId xmlns:a16="http://schemas.microsoft.com/office/drawing/2014/main" id="{E31F18FF-0A1E-416C-A926-D6AF909B41A7}"/>
                </a:ext>
              </a:extLst>
            </p:cNvPr>
            <p:cNvCxnSpPr>
              <a:cxnSpLocks/>
            </p:cNvCxnSpPr>
            <p:nvPr/>
          </p:nvCxnSpPr>
          <p:spPr>
            <a:xfrm>
              <a:off x="3152804" y="5530594"/>
              <a:ext cx="0" cy="236208"/>
            </a:xfrm>
            <a:prstGeom prst="line">
              <a:avLst/>
            </a:prstGeom>
            <a:ln w="381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Conector recto 83">
              <a:extLst>
                <a:ext uri="{FF2B5EF4-FFF2-40B4-BE49-F238E27FC236}">
                  <a16:creationId xmlns:a16="http://schemas.microsoft.com/office/drawing/2014/main" id="{EA6E4B4C-E2FD-4492-9414-EDFAD83989FC}"/>
                </a:ext>
              </a:extLst>
            </p:cNvPr>
            <p:cNvCxnSpPr>
              <a:cxnSpLocks/>
            </p:cNvCxnSpPr>
            <p:nvPr/>
          </p:nvCxnSpPr>
          <p:spPr>
            <a:xfrm>
              <a:off x="6948877" y="5530595"/>
              <a:ext cx="0" cy="236208"/>
            </a:xfrm>
            <a:prstGeom prst="line">
              <a:avLst/>
            </a:prstGeom>
            <a:ln w="381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Conector recto 83">
              <a:extLst>
                <a:ext uri="{FF2B5EF4-FFF2-40B4-BE49-F238E27FC236}">
                  <a16:creationId xmlns:a16="http://schemas.microsoft.com/office/drawing/2014/main" id="{86F70264-8A60-4B68-9EA6-08A8F717DACA}"/>
                </a:ext>
              </a:extLst>
            </p:cNvPr>
            <p:cNvCxnSpPr>
              <a:cxnSpLocks/>
            </p:cNvCxnSpPr>
            <p:nvPr/>
          </p:nvCxnSpPr>
          <p:spPr>
            <a:xfrm>
              <a:off x="8849986" y="5546742"/>
              <a:ext cx="0" cy="236208"/>
            </a:xfrm>
            <a:prstGeom prst="line">
              <a:avLst/>
            </a:prstGeom>
            <a:ln w="381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5" name="Conector recto 83">
            <a:extLst>
              <a:ext uri="{FF2B5EF4-FFF2-40B4-BE49-F238E27FC236}">
                <a16:creationId xmlns:a16="http://schemas.microsoft.com/office/drawing/2014/main" id="{AC380282-CAE7-48E7-B09F-CAEC0E84139E}"/>
              </a:ext>
            </a:extLst>
          </p:cNvPr>
          <p:cNvCxnSpPr>
            <a:cxnSpLocks/>
          </p:cNvCxnSpPr>
          <p:nvPr/>
        </p:nvCxnSpPr>
        <p:spPr>
          <a:xfrm rot="10800000">
            <a:off x="3333303" y="4786369"/>
            <a:ext cx="0" cy="236208"/>
          </a:xfrm>
          <a:prstGeom prst="line">
            <a:avLst/>
          </a:prstGeom>
          <a:ln w="381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Conector recto 83">
            <a:extLst>
              <a:ext uri="{FF2B5EF4-FFF2-40B4-BE49-F238E27FC236}">
                <a16:creationId xmlns:a16="http://schemas.microsoft.com/office/drawing/2014/main" id="{796B5935-E1C7-4AF6-8D89-D79CC127F158}"/>
              </a:ext>
            </a:extLst>
          </p:cNvPr>
          <p:cNvCxnSpPr>
            <a:cxnSpLocks/>
          </p:cNvCxnSpPr>
          <p:nvPr/>
        </p:nvCxnSpPr>
        <p:spPr>
          <a:xfrm rot="10800000">
            <a:off x="4342153" y="5054166"/>
            <a:ext cx="0" cy="236208"/>
          </a:xfrm>
          <a:prstGeom prst="line">
            <a:avLst/>
          </a:prstGeom>
          <a:ln w="381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Conector recto 83">
            <a:extLst>
              <a:ext uri="{FF2B5EF4-FFF2-40B4-BE49-F238E27FC236}">
                <a16:creationId xmlns:a16="http://schemas.microsoft.com/office/drawing/2014/main" id="{056E739F-A83C-4ED9-87B7-264CD650A699}"/>
              </a:ext>
            </a:extLst>
          </p:cNvPr>
          <p:cNvCxnSpPr>
            <a:cxnSpLocks/>
          </p:cNvCxnSpPr>
          <p:nvPr/>
        </p:nvCxnSpPr>
        <p:spPr>
          <a:xfrm rot="10800000">
            <a:off x="6254106" y="5029249"/>
            <a:ext cx="0" cy="236208"/>
          </a:xfrm>
          <a:prstGeom prst="line">
            <a:avLst/>
          </a:prstGeom>
          <a:ln w="381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Conector recto 83">
            <a:extLst>
              <a:ext uri="{FF2B5EF4-FFF2-40B4-BE49-F238E27FC236}">
                <a16:creationId xmlns:a16="http://schemas.microsoft.com/office/drawing/2014/main" id="{375C500C-7520-4F04-B3E5-7AC2D83999D5}"/>
              </a:ext>
            </a:extLst>
          </p:cNvPr>
          <p:cNvCxnSpPr>
            <a:cxnSpLocks/>
          </p:cNvCxnSpPr>
          <p:nvPr/>
        </p:nvCxnSpPr>
        <p:spPr>
          <a:xfrm rot="10800000">
            <a:off x="8070743" y="5015905"/>
            <a:ext cx="0" cy="236208"/>
          </a:xfrm>
          <a:prstGeom prst="line">
            <a:avLst/>
          </a:prstGeom>
          <a:ln w="381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7978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61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ubtitle 12"/>
          <p:cNvSpPr>
            <a:spLocks noGrp="1"/>
          </p:cNvSpPr>
          <p:nvPr>
            <p:ph type="subTitle" idx="1"/>
          </p:nvPr>
        </p:nvSpPr>
        <p:spPr>
          <a:xfrm>
            <a:off x="658333" y="2762656"/>
            <a:ext cx="3620552" cy="592952"/>
          </a:xfrm>
        </p:spPr>
        <p:txBody>
          <a:bodyPr/>
          <a:lstStyle/>
          <a:p>
            <a:r>
              <a:rPr lang="es-AR" dirty="0"/>
              <a:t>Presentación</a:t>
            </a:r>
            <a:r>
              <a:rPr lang="en-US" dirty="0"/>
              <a:t> 2023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925690" y="6617933"/>
            <a:ext cx="8640000" cy="108000"/>
          </a:xfrm>
        </p:spPr>
        <p:txBody>
          <a:bodyPr/>
          <a:lstStyle/>
          <a:p>
            <a:r>
              <a:rPr lang="en-US" dirty="0"/>
              <a:t>/// Bayer 16:9 Template /// September 2018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dirty="0" smtClean="0"/>
              <a:pPr/>
              <a:t>8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369308" y="4291374"/>
            <a:ext cx="3796179" cy="1047979"/>
          </a:xfrm>
        </p:spPr>
        <p:txBody>
          <a:bodyPr vert="horz" lIns="0" tIns="0" rIns="0" bIns="0" rtlCol="0" anchor="t">
            <a:noAutofit/>
          </a:bodyPr>
          <a:lstStyle/>
          <a:p>
            <a:pPr algn="ctr"/>
            <a:r>
              <a:rPr lang="es-AR" dirty="0"/>
              <a:t>Muchas</a:t>
            </a:r>
            <a:r>
              <a:rPr lang="en-US" dirty="0"/>
              <a:t> gracias!!</a:t>
            </a:r>
          </a:p>
          <a:p>
            <a:endParaRPr lang="en-US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4"/>
          </p:nvPr>
        </p:nvSpPr>
        <p:spPr/>
      </p:sp>
      <p:sp>
        <p:nvSpPr>
          <p:cNvPr id="15" name="Parallelogram 32"/>
          <p:cNvSpPr/>
          <p:nvPr/>
        </p:nvSpPr>
        <p:spPr bwMode="gray">
          <a:xfrm>
            <a:off x="4086231" y="-724"/>
            <a:ext cx="4032000" cy="6858724"/>
          </a:xfrm>
          <a:prstGeom prst="parallelogram">
            <a:avLst>
              <a:gd name="adj" fmla="val 32935"/>
            </a:avLst>
          </a:prstGeom>
          <a:blipFill>
            <a:blip r:embed="rId3"/>
            <a:srcRect/>
            <a:stretch>
              <a:fillRect l="-6703" r="-670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Parallelogram 37"/>
          <p:cNvSpPr/>
          <p:nvPr/>
        </p:nvSpPr>
        <p:spPr bwMode="gray">
          <a:xfrm>
            <a:off x="6761681" y="0"/>
            <a:ext cx="4032000" cy="6858724"/>
          </a:xfrm>
          <a:custGeom>
            <a:avLst/>
            <a:gdLst/>
            <a:ahLst/>
            <a:cxnLst/>
            <a:rect l="l" t="t" r="r" b="b"/>
            <a:pathLst>
              <a:path w="4032000" h="6858724">
                <a:moveTo>
                  <a:pt x="1327939" y="0"/>
                </a:moveTo>
                <a:lnTo>
                  <a:pt x="4032000" y="0"/>
                </a:lnTo>
                <a:lnTo>
                  <a:pt x="2780422" y="6464325"/>
                </a:lnTo>
                <a:lnTo>
                  <a:pt x="517853" y="6858724"/>
                </a:lnTo>
                <a:lnTo>
                  <a:pt x="0" y="6858724"/>
                </a:lnTo>
                <a:close/>
              </a:path>
            </a:pathLst>
          </a:custGeom>
          <a:blipFill>
            <a:blip r:embed="rId4"/>
            <a:srcRect/>
            <a:stretch>
              <a:fillRect l="-105929" r="-4923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Parallelogram 38"/>
          <p:cNvSpPr/>
          <p:nvPr/>
        </p:nvSpPr>
        <p:spPr bwMode="gray">
          <a:xfrm>
            <a:off x="9565690" y="0"/>
            <a:ext cx="2627107" cy="6464770"/>
          </a:xfrm>
          <a:custGeom>
            <a:avLst/>
            <a:gdLst/>
            <a:ahLst/>
            <a:cxnLst/>
            <a:rect l="l" t="t" r="r" b="b"/>
            <a:pathLst>
              <a:path w="2627107" h="6464770">
                <a:moveTo>
                  <a:pt x="1251664" y="0"/>
                </a:moveTo>
                <a:lnTo>
                  <a:pt x="2627107" y="0"/>
                </a:lnTo>
                <a:lnTo>
                  <a:pt x="2627107" y="6007241"/>
                </a:lnTo>
                <a:lnTo>
                  <a:pt x="2624724" y="6007241"/>
                </a:lnTo>
                <a:lnTo>
                  <a:pt x="2624723" y="6007241"/>
                </a:lnTo>
                <a:lnTo>
                  <a:pt x="0" y="6464770"/>
                </a:lnTo>
                <a:close/>
              </a:path>
            </a:pathLst>
          </a:custGeom>
          <a:blipFill>
            <a:blip r:embed="rId5"/>
            <a:srcRect/>
            <a:stretch>
              <a:fillRect l="-22293" r="-2229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7" name="Straight Connector 6"/>
          <p:cNvCxnSpPr/>
          <p:nvPr/>
        </p:nvCxnSpPr>
        <p:spPr bwMode="gray">
          <a:xfrm flipH="1">
            <a:off x="6787822" y="-724"/>
            <a:ext cx="1330409" cy="6858724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 bwMode="gray">
          <a:xfrm flipH="1">
            <a:off x="4086231" y="-724"/>
            <a:ext cx="1330409" cy="6858724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 bwMode="gray">
          <a:xfrm flipH="1">
            <a:off x="9566722" y="-724"/>
            <a:ext cx="1253994" cy="646477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Imagen 20">
            <a:extLst>
              <a:ext uri="{FF2B5EF4-FFF2-40B4-BE49-F238E27FC236}">
                <a16:creationId xmlns:a16="http://schemas.microsoft.com/office/drawing/2014/main" id="{599EDD28-9546-4BCD-8453-122333BCE71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59533" y="826524"/>
            <a:ext cx="1991273" cy="44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4590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DO_REDO_REVISIO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1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16"/>
  <p:tag name="MIO_HDS" val="True"/>
  <p:tag name="MIO_SKIPVERSION" val="01.01.0001 00:00:00"/>
  <p:tag name="MIO_EKGUID" val="106612b7-7cda-4c66-a943-3c88b56a92d2"/>
  <p:tag name="MIO_UPDATE" val="True"/>
  <p:tag name="MIO_VERSION" val="05.09.2018 15:12:17"/>
  <p:tag name="MIO_DBID" val="8E7267AE-489F-4B02-8040-8A98451BF141"/>
  <p:tag name="MIO_LASTDOWNLOADED" val="25.09.2018 11:11:43"/>
  <p:tag name="MIO_OBJECTNAME" val="Master Bayer AG 16:9 pre final"/>
  <p:tag name="MIO_CDID" val="cd9a71c7-8ed9-41a1-8303-1a6d1985851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heme/theme1.xml><?xml version="1.0" encoding="utf-8"?>
<a:theme xmlns:a="http://schemas.openxmlformats.org/drawingml/2006/main" name="PR_BAG_PPT-master_16-9_2018-09-25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FFFFFF"/>
            </a:solidFill>
            <a:latin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>
        <a:no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Arial" panose="020B0604020202020204" pitchFamily="34" charset="0"/>
          </a:defRPr>
        </a:defPPr>
      </a:lstStyle>
    </a:txDef>
  </a:objectDefaults>
  <a:extraClrSchemeLst/>
  <a:custClrLst>
    <a:custClr name="Raspberry">
      <a:srgbClr val="D30F4B"/>
    </a:custClr>
    <a:custClr name="Fuchs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36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  <a:extLst>
    <a:ext uri="{05A4C25C-085E-4340-85A3-A5531E510DB2}">
      <thm15:themeFamily xmlns:thm15="http://schemas.microsoft.com/office/thememl/2012/main" name="Präsentation2" id="{9F44F183-6967-4C37-BC3A-F846C6343AA8}" vid="{2CD6D4D1-CF9C-4B16-993C-2A26F7415D1B}"/>
    </a:ext>
  </a:extLst>
</a:theme>
</file>

<file path=ppt/theme/theme2.xml><?xml version="1.0" encoding="utf-8"?>
<a:theme xmlns:a="http://schemas.openxmlformats.org/drawingml/2006/main" name="Office Theme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74F79A8555E4D4CA1318ED6D6B4D781" ma:contentTypeVersion="24" ma:contentTypeDescription="Create a new document." ma:contentTypeScope="" ma:versionID="9ef4aab9c6a7245acdbf74d0bc58c426">
  <xsd:schema xmlns:xsd="http://www.w3.org/2001/XMLSchema" xmlns:xs="http://www.w3.org/2001/XMLSchema" xmlns:p="http://schemas.microsoft.com/office/2006/metadata/properties" xmlns:ns1="http://schemas.microsoft.com/sharepoint/v3" xmlns:ns2="1a4d292e-883c-434b-96e3-060cfff16c86" xmlns:ns3="3b42c57f-2564-4166-94bf-24309c8fb4c0" xmlns:ns4="e5956d20-e5aa-446f-8990-f17934c75743" targetNamespace="http://schemas.microsoft.com/office/2006/metadata/properties" ma:root="true" ma:fieldsID="3bceb6818557717e84469c21148454a1" ns1:_="" ns2:_="" ns3:_="" ns4:_="">
    <xsd:import namespace="http://schemas.microsoft.com/sharepoint/v3"/>
    <xsd:import namespace="1a4d292e-883c-434b-96e3-060cfff16c86"/>
    <xsd:import namespace="3b42c57f-2564-4166-94bf-24309c8fb4c0"/>
    <xsd:import namespace="e5956d20-e5aa-446f-8990-f17934c75743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2:TaxCatchAllLabel" minOccurs="0"/>
                <xsd:element ref="ns1:_dlc_Exempt" minOccurs="0"/>
                <xsd:element ref="ns1:_dlc_ExpireDateSaved" minOccurs="0"/>
                <xsd:element ref="ns1:_dlc_ExpireDate" minOccurs="0"/>
                <xsd:element ref="ns3:7d1289d8-597b-4400-9890-d4ce2629041cCountryOrRegion" minOccurs="0"/>
                <xsd:element ref="ns3:7d1289d8-597b-4400-9890-d4ce2629041cState" minOccurs="0"/>
                <xsd:element ref="ns3:7d1289d8-597b-4400-9890-d4ce2629041cCity" minOccurs="0"/>
                <xsd:element ref="ns3:7d1289d8-597b-4400-9890-d4ce2629041cPostalCode" minOccurs="0"/>
                <xsd:element ref="ns3:7d1289d8-597b-4400-9890-d4ce2629041cStreet" minOccurs="0"/>
                <xsd:element ref="ns3:7d1289d8-597b-4400-9890-d4ce2629041cGeoLoc" minOccurs="0"/>
                <xsd:element ref="ns3:7d1289d8-597b-4400-9890-d4ce2629041cDispName" minOccurs="0"/>
                <xsd:element ref="ns3:TaskName" minOccurs="0"/>
                <xsd:element ref="ns3:DateReport" minOccurs="0"/>
                <xsd:element ref="ns3:MediaServiceDateTaken" minOccurs="0"/>
                <xsd:element ref="ns4:SharedWithUsers" minOccurs="0"/>
                <xsd:element ref="ns4:SharedWithDetails" minOccurs="0"/>
                <xsd:element ref="ns3:MediaServiceMetadata" minOccurs="0"/>
                <xsd:element ref="ns3:MediaServiceFastMetadata" minOccurs="0"/>
                <xsd:element ref="ns3:Status" minOccurs="0"/>
                <xsd:element ref="ns3:Team" minOccurs="0"/>
                <xsd:element ref="ns3:Country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dlc_Exempt" ma:index="10" nillable="true" ma:displayName="Exempt from Policy" ma:hidden="true" ma:internalName="_dlc_Exempt" ma:readOnly="false">
      <xsd:simpleType>
        <xsd:restriction base="dms:Unknown"/>
      </xsd:simpleType>
    </xsd:element>
    <xsd:element name="_dlc_ExpireDateSaved" ma:index="11" nillable="true" ma:displayName="Original Expiration Date" ma:hidden="true" ma:internalName="_dlc_ExpireDateSaved" ma:readOnly="false">
      <xsd:simpleType>
        <xsd:restriction base="dms:DateTime"/>
      </xsd:simpleType>
    </xsd:element>
    <xsd:element name="_dlc_ExpireDate" ma:index="12" nillable="true" ma:displayName="Expiration Date" ma:hidden="true" ma:internalName="_dlc_ExpireDate" ma:readOnly="fals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4d292e-883c-434b-96e3-060cfff16c86" elementFormDefault="qualified">
    <xsd:import namespace="http://schemas.microsoft.com/office/2006/documentManagement/types"/>
    <xsd:import namespace="http://schemas.microsoft.com/office/infopath/2007/PartnerControls"/>
    <xsd:element name="TaxCatchAll" ma:index="8" nillable="true" ma:displayName="Taxonomy Catch All Column" ma:hidden="true" ma:list="{0359ab33-1d7e-45b1-9f23-a95ef1e1027b}" ma:internalName="TaxCatchAll" ma:showField="CatchAllData" ma:web="e5956d20-e5aa-446f-8990-f17934c7574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9" nillable="true" ma:displayName="Taxonomy Catch All Column1" ma:hidden="true" ma:list="{0359ab33-1d7e-45b1-9f23-a95ef1e1027b}" ma:internalName="TaxCatchAllLabel" ma:readOnly="true" ma:showField="CatchAllDataLabel" ma:web="e5956d20-e5aa-446f-8990-f17934c7574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b42c57f-2564-4166-94bf-24309c8fb4c0" elementFormDefault="qualified">
    <xsd:import namespace="http://schemas.microsoft.com/office/2006/documentManagement/types"/>
    <xsd:import namespace="http://schemas.microsoft.com/office/infopath/2007/PartnerControls"/>
    <xsd:element name="7d1289d8-597b-4400-9890-d4ce2629041cCountryOrRegion" ma:index="13" nillable="true" ma:displayName="Country: País/Região" ma:internalName="CountryOrRegion" ma:readOnly="true">
      <xsd:simpleType>
        <xsd:restriction base="dms:Text"/>
      </xsd:simpleType>
    </xsd:element>
    <xsd:element name="7d1289d8-597b-4400-9890-d4ce2629041cState" ma:index="14" nillable="true" ma:displayName="Country: Estado" ma:internalName="State" ma:readOnly="true">
      <xsd:simpleType>
        <xsd:restriction base="dms:Text"/>
      </xsd:simpleType>
    </xsd:element>
    <xsd:element name="7d1289d8-597b-4400-9890-d4ce2629041cCity" ma:index="15" nillable="true" ma:displayName="Country: Cidade" ma:internalName="City" ma:readOnly="true">
      <xsd:simpleType>
        <xsd:restriction base="dms:Text"/>
      </xsd:simpleType>
    </xsd:element>
    <xsd:element name="7d1289d8-597b-4400-9890-d4ce2629041cPostalCode" ma:index="16" nillable="true" ma:displayName="Country: CEP" ma:internalName="PostalCode" ma:readOnly="true">
      <xsd:simpleType>
        <xsd:restriction base="dms:Text"/>
      </xsd:simpleType>
    </xsd:element>
    <xsd:element name="7d1289d8-597b-4400-9890-d4ce2629041cStreet" ma:index="17" nillable="true" ma:displayName="Country: Rua" ma:internalName="Street" ma:readOnly="true">
      <xsd:simpleType>
        <xsd:restriction base="dms:Text"/>
      </xsd:simpleType>
    </xsd:element>
    <xsd:element name="7d1289d8-597b-4400-9890-d4ce2629041cGeoLoc" ma:index="18" nillable="true" ma:displayName="Country: Coordenadas" ma:internalName="GeoLoc" ma:readOnly="true">
      <xsd:simpleType>
        <xsd:restriction base="dms:Unknown"/>
      </xsd:simpleType>
    </xsd:element>
    <xsd:element name="7d1289d8-597b-4400-9890-d4ce2629041cDispName" ma:index="19" nillable="true" ma:displayName="Country: Nome" ma:internalName="DispName" ma:readOnly="true">
      <xsd:simpleType>
        <xsd:restriction base="dms:Text"/>
      </xsd:simpleType>
    </xsd:element>
    <xsd:element name="TaskName" ma:index="20" nillable="true" ma:displayName="Task Name" ma:format="Dropdown" ma:internalName="TaskName">
      <xsd:simpleType>
        <xsd:union memberTypes="dms:Text">
          <xsd:simpleType>
            <xsd:restriction base="dms:Choice">
              <xsd:enumeration value="Credit Model - Costs"/>
              <xsd:enumeration value="Credito Model - Cities"/>
              <xsd:enumeration value="Customer Finance - Budget / Planning"/>
            </xsd:restriction>
          </xsd:simpleType>
        </xsd:union>
      </xsd:simpleType>
    </xsd:element>
    <xsd:element name="DateReport" ma:index="21" nillable="true" ma:displayName="DateReport" ma:default="[today]" ma:description="date" ma:format="DateOnly" ma:internalName="DateReport">
      <xsd:simpleType>
        <xsd:restriction base="dms:DateTime"/>
      </xsd:simpleType>
    </xsd:element>
    <xsd:element name="MediaServiceDateTaken" ma:index="22" nillable="true" ma:displayName="MediaServiceDateTaken" ma:hidden="true" ma:internalName="MediaServiceDateTaken" ma:readOnly="true">
      <xsd:simpleType>
        <xsd:restriction base="dms:Text"/>
      </xsd:simpleType>
    </xsd:element>
    <xsd:element name="MediaServiceMetadata" ma:index="25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26" nillable="true" ma:displayName="MediaServiceFastMetadata" ma:hidden="true" ma:internalName="MediaServiceFastMetadata" ma:readOnly="true">
      <xsd:simpleType>
        <xsd:restriction base="dms:Note"/>
      </xsd:simpleType>
    </xsd:element>
    <xsd:element name="Status" ma:index="27" nillable="true" ma:displayName="Status" ma:default="Work in progress" ma:format="Dropdown" ma:internalName="Status">
      <xsd:simpleType>
        <xsd:restriction base="dms:Choice">
          <xsd:enumeration value="Concept"/>
          <xsd:enumeration value="Work in progress"/>
          <xsd:enumeration value="Interrupted"/>
          <xsd:enumeration value="Done"/>
        </xsd:restriction>
      </xsd:simpleType>
    </xsd:element>
    <xsd:element name="Team" ma:index="28" nillable="true" ma:displayName="Team" ma:format="Dropdown" ma:indexed="true" ma:internalName="Team">
      <xsd:simpleType>
        <xsd:restriction base="dms:Choice">
          <xsd:enumeration value="Digital Analytics"/>
          <xsd:enumeration value="Customer Finance"/>
          <xsd:enumeration value="Credit Risk"/>
          <xsd:enumeration value="Barter Strategy"/>
          <xsd:enumeration value="Credit Management Veg"/>
        </xsd:restriction>
      </xsd:simpleType>
    </xsd:element>
    <xsd:element name="Country" ma:index="29" nillable="true" ma:displayName="Country" ma:format="Dropdown" ma:internalName="Country">
      <xsd:simpleType>
        <xsd:restriction base="dms:Unknown"/>
      </xsd:simpleType>
    </xsd:element>
    <xsd:element name="MediaServiceAutoTags" ma:index="30" nillable="true" ma:displayName="Tags" ma:internalName="MediaServiceAutoTags" ma:readOnly="true">
      <xsd:simpleType>
        <xsd:restriction base="dms:Text"/>
      </xsd:simpleType>
    </xsd:element>
    <xsd:element name="MediaServiceOCR" ma:index="3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3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3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3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3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36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956d20-e5aa-446f-8990-f17934c75743" elementFormDefault="qualified">
    <xsd:import namespace="http://schemas.microsoft.com/office/2006/documentManagement/types"/>
    <xsd:import namespace="http://schemas.microsoft.com/office/infopath/2007/PartnerControls"/>
    <xsd:element name="SharedWithUsers" ma:index="2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4.xml><?xml version="1.0" encoding="utf-8"?>
<?mso-contentType ?>
<SharedContentType xmlns="Microsoft.SharePoint.Taxonomy.ContentTypeSync" SourceId="7bc43322-b630-4bac-8b27-31def233d1d0" ContentTypeId="0x0101" PreviousValue="false"/>
</file>

<file path=customXml/itemProps1.xml><?xml version="1.0" encoding="utf-8"?>
<ds:datastoreItem xmlns:ds="http://schemas.openxmlformats.org/officeDocument/2006/customXml" ds:itemID="{CF71032B-2620-4696-8A29-635332B0083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7D32914-55AF-4FF7-89A2-BDC8CBDAD9D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1a4d292e-883c-434b-96e3-060cfff16c86"/>
    <ds:schemaRef ds:uri="3b42c57f-2564-4166-94bf-24309c8fb4c0"/>
    <ds:schemaRef ds:uri="e5956d20-e5aa-446f-8990-f17934c7574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E0F0794-5BCB-47E1-B979-BCA6A7EAFEA3}">
  <ds:schemaRefs>
    <ds:schemaRef ds:uri="3197aa42-af32-4b87-a7f2-9aeac647b93d"/>
    <ds:schemaRef ds:uri="4af0d15b-ada8-4d83-9936-71be0bb364ca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.xml><?xml version="1.0" encoding="utf-8"?>
<ds:datastoreItem xmlns:ds="http://schemas.openxmlformats.org/officeDocument/2006/customXml" ds:itemID="{93A9AA7E-352E-4359-A96E-B8BC08FAFB0C}">
  <ds:schemaRefs>
    <ds:schemaRef ds:uri="Microsoft.SharePoint.Taxonomy.ContentTypeSync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_BAG_PPT-master_16-9_2018-09-25</Template>
  <TotalTime>15778</TotalTime>
  <Words>1001</Words>
  <Application>Microsoft Office PowerPoint</Application>
  <PresentationFormat>Personalizado</PresentationFormat>
  <Paragraphs>125</Paragraphs>
  <Slides>8</Slides>
  <Notes>2</Notes>
  <HiddenSlides>0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ítulos de diapositiva</vt:lpstr>
      </vt:variant>
      <vt:variant>
        <vt:i4>8</vt:i4>
      </vt:variant>
    </vt:vector>
  </HeadingPairs>
  <TitlesOfParts>
    <vt:vector size="9" baseType="lpstr">
      <vt:lpstr>PR_BAG_PPT-master_16-9_2018-09-25</vt:lpstr>
      <vt:lpstr>Customer Financing</vt:lpstr>
      <vt:lpstr>Customer Financing</vt:lpstr>
      <vt:lpstr>SGR – Sociedad de Garantía Reciproca </vt:lpstr>
      <vt:lpstr>Plataformas utilizadas </vt:lpstr>
      <vt:lpstr>Actividades Recurrentes Customer Financing</vt:lpstr>
      <vt:lpstr>Actividades Recurrentes SGR</vt:lpstr>
      <vt:lpstr>Stakeholders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oran Hannes</dc:creator>
  <cp:keywords>Classification: Internal</cp:keywords>
  <cp:lastModifiedBy>Soraya San Rojas</cp:lastModifiedBy>
  <cp:revision>48</cp:revision>
  <cp:lastPrinted>2019-08-09T15:58:34Z</cp:lastPrinted>
  <dcterms:created xsi:type="dcterms:W3CDTF">2019-02-21T12:06:19Z</dcterms:created>
  <dcterms:modified xsi:type="dcterms:W3CDTF">2023-04-20T12:55:51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LabelPos">
    <vt:lpwstr>836;514;810;514;854;514</vt:lpwstr>
  </property>
  <property fmtid="{D5CDD505-2E9C-101B-9397-08002B2CF9AE}" pid="3" name="ContentTypeId">
    <vt:lpwstr>0x010100474F79A8555E4D4CA1318ED6D6B4D781</vt:lpwstr>
  </property>
  <property fmtid="{D5CDD505-2E9C-101B-9397-08002B2CF9AE}" pid="4" name="Classification">
    <vt:lpwstr>Internal</vt:lpwstr>
  </property>
  <property fmtid="{D5CDD505-2E9C-101B-9397-08002B2CF9AE}" pid="5" name="MSIP_Label_2c76c141-ac86-40e5-abf2-c6f60e474cee_Enabled">
    <vt:lpwstr>True</vt:lpwstr>
  </property>
  <property fmtid="{D5CDD505-2E9C-101B-9397-08002B2CF9AE}" pid="6" name="MSIP_Label_2c76c141-ac86-40e5-abf2-c6f60e474cee_SiteId">
    <vt:lpwstr>fcb2b37b-5da0-466b-9b83-0014b67a7c78</vt:lpwstr>
  </property>
  <property fmtid="{D5CDD505-2E9C-101B-9397-08002B2CF9AE}" pid="7" name="MSIP_Label_2c76c141-ac86-40e5-abf2-c6f60e474cee_Owner">
    <vt:lpwstr>jorge.prado@bayer.com</vt:lpwstr>
  </property>
  <property fmtid="{D5CDD505-2E9C-101B-9397-08002B2CF9AE}" pid="8" name="MSIP_Label_2c76c141-ac86-40e5-abf2-c6f60e474cee_SetDate">
    <vt:lpwstr>2020-03-23T02:32:11.9729172Z</vt:lpwstr>
  </property>
  <property fmtid="{D5CDD505-2E9C-101B-9397-08002B2CF9AE}" pid="9" name="MSIP_Label_2c76c141-ac86-40e5-abf2-c6f60e474cee_Name">
    <vt:lpwstr>RESTRICTED</vt:lpwstr>
  </property>
  <property fmtid="{D5CDD505-2E9C-101B-9397-08002B2CF9AE}" pid="10" name="MSIP_Label_2c76c141-ac86-40e5-abf2-c6f60e474cee_Application">
    <vt:lpwstr>Microsoft Azure Information Protection</vt:lpwstr>
  </property>
  <property fmtid="{D5CDD505-2E9C-101B-9397-08002B2CF9AE}" pid="11" name="MSIP_Label_2c76c141-ac86-40e5-abf2-c6f60e474cee_Extended_MSFT_Method">
    <vt:lpwstr>Automatic</vt:lpwstr>
  </property>
  <property fmtid="{D5CDD505-2E9C-101B-9397-08002B2CF9AE}" pid="12" name="Sensitivity">
    <vt:lpwstr>RESTRICTED</vt:lpwstr>
  </property>
</Properties>
</file>